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713" r:id="rId5"/>
    <p:sldMasterId id="2147483745" r:id="rId6"/>
    <p:sldMasterId id="2147483773" r:id="rId7"/>
    <p:sldMasterId id="2147483784" r:id="rId8"/>
  </p:sldMasterIdLst>
  <p:notesMasterIdLst>
    <p:notesMasterId r:id="rId39"/>
  </p:notesMasterIdLst>
  <p:handoutMasterIdLst>
    <p:handoutMasterId r:id="rId40"/>
  </p:handoutMasterIdLst>
  <p:sldIdLst>
    <p:sldId id="259" r:id="rId9"/>
    <p:sldId id="256" r:id="rId10"/>
    <p:sldId id="1439" r:id="rId11"/>
    <p:sldId id="319" r:id="rId12"/>
    <p:sldId id="310" r:id="rId13"/>
    <p:sldId id="311" r:id="rId14"/>
    <p:sldId id="312" r:id="rId15"/>
    <p:sldId id="313" r:id="rId16"/>
    <p:sldId id="1433" r:id="rId17"/>
    <p:sldId id="1599" r:id="rId18"/>
    <p:sldId id="1397" r:id="rId19"/>
    <p:sldId id="1438" r:id="rId20"/>
    <p:sldId id="1436" r:id="rId21"/>
    <p:sldId id="1398" r:id="rId22"/>
    <p:sldId id="1399" r:id="rId23"/>
    <p:sldId id="1434" r:id="rId24"/>
    <p:sldId id="1598" r:id="rId25"/>
    <p:sldId id="5945" r:id="rId26"/>
    <p:sldId id="378" r:id="rId27"/>
    <p:sldId id="377" r:id="rId28"/>
    <p:sldId id="379" r:id="rId29"/>
    <p:sldId id="6017" r:id="rId30"/>
    <p:sldId id="5996" r:id="rId31"/>
    <p:sldId id="6009" r:id="rId32"/>
    <p:sldId id="6010" r:id="rId33"/>
    <p:sldId id="6011" r:id="rId34"/>
    <p:sldId id="6013" r:id="rId35"/>
    <p:sldId id="6012" r:id="rId36"/>
    <p:sldId id="6016" r:id="rId37"/>
    <p:sldId id="5944" r:id="rId3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9D3194A-17F4-424C-9850-2B99DBE3F409}">
          <p14:sldIdLst>
            <p14:sldId id="259"/>
            <p14:sldId id="256"/>
            <p14:sldId id="1439"/>
            <p14:sldId id="319"/>
            <p14:sldId id="310"/>
            <p14:sldId id="311"/>
            <p14:sldId id="312"/>
            <p14:sldId id="313"/>
            <p14:sldId id="1433"/>
            <p14:sldId id="1599"/>
            <p14:sldId id="1397"/>
            <p14:sldId id="1438"/>
            <p14:sldId id="1436"/>
            <p14:sldId id="1398"/>
            <p14:sldId id="1399"/>
            <p14:sldId id="1434"/>
            <p14:sldId id="1598"/>
            <p14:sldId id="5945"/>
            <p14:sldId id="378"/>
            <p14:sldId id="377"/>
            <p14:sldId id="379"/>
          </p14:sldIdLst>
        </p14:section>
        <p14:section name="Default Section" id="{9E051672-AFA3-4CEB-8740-FAA29247298D}">
          <p14:sldIdLst>
            <p14:sldId id="6017"/>
            <p14:sldId id="5996"/>
            <p14:sldId id="6009"/>
            <p14:sldId id="6010"/>
            <p14:sldId id="6011"/>
            <p14:sldId id="6013"/>
            <p14:sldId id="6012"/>
            <p14:sldId id="6016"/>
          </p14:sldIdLst>
        </p14:section>
        <p14:section name="Default Section" id="{9F50C137-5DD7-43B7-BBDE-300876F04DEF}">
          <p14:sldIdLst/>
        </p14:section>
        <p14:section name="Default Section" id="{596EF679-7707-45C5-BDAE-70772D786CAC}">
          <p14:sldIdLst>
            <p14:sldId id="594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ullen (ESO), Paul J" initials="M(PJ" lastIdx="1" clrIdx="0">
    <p:extLst>
      <p:ext uri="{19B8F6BF-5375-455C-9EA6-DF929625EA0E}">
        <p15:presenceInfo xmlns:p15="http://schemas.microsoft.com/office/powerpoint/2012/main" userId="S-1-5-21-852109325-4236797708-1392725387-1239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BF22"/>
    <a:srgbClr val="0079C1"/>
    <a:srgbClr val="FCF3E7"/>
    <a:srgbClr val="C85412"/>
    <a:srgbClr val="E61E84"/>
    <a:srgbClr val="FFCE2C"/>
    <a:srgbClr val="FF5D00"/>
    <a:srgbClr val="20201E"/>
    <a:srgbClr val="6A2C91"/>
    <a:srgbClr val="E754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6D5D5C5-3320-4CE7-9B14-170232C4B3EE}" v="44" dt="2021-12-20T18:09:23.998"/>
    <p1510:client id="{A5B10780-F387-4111-A3F9-FB21FF27FC8E}" v="4" dt="2021-12-20T16:15:11.7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64" autoAdjust="0"/>
    <p:restoredTop sz="85830" autoAdjust="0"/>
  </p:normalViewPr>
  <p:slideViewPr>
    <p:cSldViewPr snapToGrid="0" snapToObjects="1">
      <p:cViewPr varScale="1">
        <p:scale>
          <a:sx n="57" d="100"/>
          <a:sy n="57" d="100"/>
        </p:scale>
        <p:origin x="964" y="44"/>
      </p:cViewPr>
      <p:guideLst/>
    </p:cSldViewPr>
  </p:slideViewPr>
  <p:notesTextViewPr>
    <p:cViewPr>
      <p:scale>
        <a:sx n="40" d="100"/>
        <a:sy n="40" d="100"/>
      </p:scale>
      <p:origin x="0" y="0"/>
    </p:cViewPr>
  </p:notesTextViewPr>
  <p:sorterViewPr>
    <p:cViewPr>
      <p:scale>
        <a:sx n="66" d="100"/>
        <a:sy n="66" d="100"/>
      </p:scale>
      <p:origin x="0" y="0"/>
    </p:cViewPr>
  </p:sorterViewPr>
  <p:notesViewPr>
    <p:cSldViewPr snapToGrid="0" snapToObjects="1">
      <p:cViewPr varScale="1">
        <p:scale>
          <a:sx n="97" d="100"/>
          <a:sy n="97" d="100"/>
        </p:scale>
        <p:origin x="4328"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presProps" Target="presProps.xml"/><Relationship Id="rId47"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ullen (ESO), Paul J" userId="bf3d1d73-b4d7-4bb4-8793-c91dcec30622" providerId="ADAL" clId="{0D112271-62E7-4B10-82BF-D685CEF0D9CB}"/>
    <pc:docChg chg="undo custSel addSld delSld modSld modSection">
      <pc:chgData name="Mullen (ESO), Paul J" userId="bf3d1d73-b4d7-4bb4-8793-c91dcec30622" providerId="ADAL" clId="{0D112271-62E7-4B10-82BF-D685CEF0D9CB}" dt="2021-12-20T08:42:41.579" v="1180" actId="13926"/>
      <pc:docMkLst>
        <pc:docMk/>
      </pc:docMkLst>
      <pc:sldChg chg="modSp mod">
        <pc:chgData name="Mullen (ESO), Paul J" userId="bf3d1d73-b4d7-4bb4-8793-c91dcec30622" providerId="ADAL" clId="{0D112271-62E7-4B10-82BF-D685CEF0D9CB}" dt="2021-12-20T08:40:54.570" v="1121" actId="13926"/>
        <pc:sldMkLst>
          <pc:docMk/>
          <pc:sldMk cId="4166818921" sldId="259"/>
        </pc:sldMkLst>
        <pc:spChg chg="mod">
          <ac:chgData name="Mullen (ESO), Paul J" userId="bf3d1d73-b4d7-4bb4-8793-c91dcec30622" providerId="ADAL" clId="{0D112271-62E7-4B10-82BF-D685CEF0D9CB}" dt="2021-12-20T08:40:48.311" v="1120" actId="13926"/>
          <ac:spMkLst>
            <pc:docMk/>
            <pc:sldMk cId="4166818921" sldId="259"/>
            <ac:spMk id="4" creationId="{239D8572-4B80-43C0-A793-A677B76538B7}"/>
          </ac:spMkLst>
        </pc:spChg>
        <pc:spChg chg="mod">
          <ac:chgData name="Mullen (ESO), Paul J" userId="bf3d1d73-b4d7-4bb4-8793-c91dcec30622" providerId="ADAL" clId="{0D112271-62E7-4B10-82BF-D685CEF0D9CB}" dt="2021-12-20T08:40:54.570" v="1121" actId="13926"/>
          <ac:spMkLst>
            <pc:docMk/>
            <pc:sldMk cId="4166818921" sldId="259"/>
            <ac:spMk id="5" creationId="{4FBA6ABF-CE97-446E-AFED-BDC24A2E4D0F}"/>
          </ac:spMkLst>
        </pc:spChg>
      </pc:sldChg>
      <pc:sldChg chg="del">
        <pc:chgData name="Mullen (ESO), Paul J" userId="bf3d1d73-b4d7-4bb4-8793-c91dcec30622" providerId="ADAL" clId="{0D112271-62E7-4B10-82BF-D685CEF0D9CB}" dt="2021-11-05T14:30:36.726" v="165" actId="47"/>
        <pc:sldMkLst>
          <pc:docMk/>
          <pc:sldMk cId="1803524852" sldId="277"/>
        </pc:sldMkLst>
      </pc:sldChg>
      <pc:sldChg chg="modNotesTx">
        <pc:chgData name="Mullen (ESO), Paul J" userId="bf3d1d73-b4d7-4bb4-8793-c91dcec30622" providerId="ADAL" clId="{0D112271-62E7-4B10-82BF-D685CEF0D9CB}" dt="2021-12-20T08:41:47.187" v="1178" actId="20577"/>
        <pc:sldMkLst>
          <pc:docMk/>
          <pc:sldMk cId="157628853" sldId="311"/>
        </pc:sldMkLst>
      </pc:sldChg>
      <pc:sldChg chg="modNotesTx">
        <pc:chgData name="Mullen (ESO), Paul J" userId="bf3d1d73-b4d7-4bb4-8793-c91dcec30622" providerId="ADAL" clId="{0D112271-62E7-4B10-82BF-D685CEF0D9CB}" dt="2021-11-05T14:29:10.949" v="119" actId="20577"/>
        <pc:sldMkLst>
          <pc:docMk/>
          <pc:sldMk cId="122503846" sldId="312"/>
        </pc:sldMkLst>
      </pc:sldChg>
      <pc:sldChg chg="addSp delSp modSp mod">
        <pc:chgData name="Mullen (ESO), Paul J" userId="bf3d1d73-b4d7-4bb4-8793-c91dcec30622" providerId="ADAL" clId="{0D112271-62E7-4B10-82BF-D685CEF0D9CB}" dt="2021-12-20T08:42:41.579" v="1180" actId="13926"/>
        <pc:sldMkLst>
          <pc:docMk/>
          <pc:sldMk cId="1677954264" sldId="1126"/>
        </pc:sldMkLst>
        <pc:spChg chg="mod">
          <ac:chgData name="Mullen (ESO), Paul J" userId="bf3d1d73-b4d7-4bb4-8793-c91dcec30622" providerId="ADAL" clId="{0D112271-62E7-4B10-82BF-D685CEF0D9CB}" dt="2021-12-20T08:42:41.579" v="1180" actId="13926"/>
          <ac:spMkLst>
            <pc:docMk/>
            <pc:sldMk cId="1677954264" sldId="1126"/>
            <ac:spMk id="2" creationId="{0CDA9072-F464-487A-8933-2350A3A6AE34}"/>
          </ac:spMkLst>
        </pc:spChg>
        <pc:spChg chg="add mod">
          <ac:chgData name="Mullen (ESO), Paul J" userId="bf3d1d73-b4d7-4bb4-8793-c91dcec30622" providerId="ADAL" clId="{0D112271-62E7-4B10-82BF-D685CEF0D9CB}" dt="2021-12-20T08:36:57.152" v="971" actId="14100"/>
          <ac:spMkLst>
            <pc:docMk/>
            <pc:sldMk cId="1677954264" sldId="1126"/>
            <ac:spMk id="4" creationId="{8E339D6A-919B-4755-8693-A16611EF19F1}"/>
          </ac:spMkLst>
        </pc:spChg>
        <pc:graphicFrameChg chg="del">
          <ac:chgData name="Mullen (ESO), Paul J" userId="bf3d1d73-b4d7-4bb4-8793-c91dcec30622" providerId="ADAL" clId="{0D112271-62E7-4B10-82BF-D685CEF0D9CB}" dt="2021-12-20T08:32:00.789" v="264" actId="478"/>
          <ac:graphicFrameMkLst>
            <pc:docMk/>
            <pc:sldMk cId="1677954264" sldId="1126"/>
            <ac:graphicFrameMk id="7" creationId="{7BE44EE5-25E9-49FA-BAC5-ED9CA495B1DD}"/>
          </ac:graphicFrameMkLst>
        </pc:graphicFrameChg>
      </pc:sldChg>
      <pc:sldChg chg="addSp delSp modSp mod">
        <pc:chgData name="Mullen (ESO), Paul J" userId="bf3d1d73-b4d7-4bb4-8793-c91dcec30622" providerId="ADAL" clId="{0D112271-62E7-4B10-82BF-D685CEF0D9CB}" dt="2021-12-20T08:31:40.225" v="258" actId="1076"/>
        <pc:sldMkLst>
          <pc:docMk/>
          <pc:sldMk cId="2847287295" sldId="1397"/>
        </pc:sldMkLst>
        <pc:spChg chg="del">
          <ac:chgData name="Mullen (ESO), Paul J" userId="bf3d1d73-b4d7-4bb4-8793-c91dcec30622" providerId="ADAL" clId="{0D112271-62E7-4B10-82BF-D685CEF0D9CB}" dt="2021-12-20T08:31:03.007" v="251" actId="478"/>
          <ac:spMkLst>
            <pc:docMk/>
            <pc:sldMk cId="2847287295" sldId="1397"/>
            <ac:spMk id="2" creationId="{45962E1F-3E2E-4800-B746-C2585194061B}"/>
          </ac:spMkLst>
        </pc:spChg>
        <pc:spChg chg="add mod">
          <ac:chgData name="Mullen (ESO), Paul J" userId="bf3d1d73-b4d7-4bb4-8793-c91dcec30622" providerId="ADAL" clId="{0D112271-62E7-4B10-82BF-D685CEF0D9CB}" dt="2021-12-20T08:31:40.225" v="258" actId="1076"/>
          <ac:spMkLst>
            <pc:docMk/>
            <pc:sldMk cId="2847287295" sldId="1397"/>
            <ac:spMk id="4" creationId="{9B005218-02F1-4150-92E7-9D14FA6F26E6}"/>
          </ac:spMkLst>
        </pc:spChg>
        <pc:spChg chg="add del mod">
          <ac:chgData name="Mullen (ESO), Paul J" userId="bf3d1d73-b4d7-4bb4-8793-c91dcec30622" providerId="ADAL" clId="{0D112271-62E7-4B10-82BF-D685CEF0D9CB}" dt="2021-12-20T08:31:14.474" v="254" actId="478"/>
          <ac:spMkLst>
            <pc:docMk/>
            <pc:sldMk cId="2847287295" sldId="1397"/>
            <ac:spMk id="6" creationId="{9F485A8F-165F-415D-9C2E-B0D6234AA8D8}"/>
          </ac:spMkLst>
        </pc:spChg>
      </pc:sldChg>
      <pc:sldChg chg="modSp mod">
        <pc:chgData name="Mullen (ESO), Paul J" userId="bf3d1d73-b4d7-4bb4-8793-c91dcec30622" providerId="ADAL" clId="{0D112271-62E7-4B10-82BF-D685CEF0D9CB}" dt="2021-12-20T08:30:12.151" v="245" actId="20577"/>
        <pc:sldMkLst>
          <pc:docMk/>
          <pc:sldMk cId="2331349124" sldId="1398"/>
        </pc:sldMkLst>
        <pc:spChg chg="mod">
          <ac:chgData name="Mullen (ESO), Paul J" userId="bf3d1d73-b4d7-4bb4-8793-c91dcec30622" providerId="ADAL" clId="{0D112271-62E7-4B10-82BF-D685CEF0D9CB}" dt="2021-12-20T08:30:12.151" v="245" actId="20577"/>
          <ac:spMkLst>
            <pc:docMk/>
            <pc:sldMk cId="2331349124" sldId="1398"/>
            <ac:spMk id="4" creationId="{00000000-0000-0000-0000-000000000000}"/>
          </ac:spMkLst>
        </pc:spChg>
        <pc:graphicFrameChg chg="mod">
          <ac:chgData name="Mullen (ESO), Paul J" userId="bf3d1d73-b4d7-4bb4-8793-c91dcec30622" providerId="ADAL" clId="{0D112271-62E7-4B10-82BF-D685CEF0D9CB}" dt="2021-12-20T08:29:58.039" v="220" actId="20577"/>
          <ac:graphicFrameMkLst>
            <pc:docMk/>
            <pc:sldMk cId="2331349124" sldId="1398"/>
            <ac:graphicFrameMk id="5" creationId="{69CCDA93-5F31-4AD0-ACB1-0F5F6AFEA016}"/>
          </ac:graphicFrameMkLst>
        </pc:graphicFrameChg>
      </pc:sldChg>
      <pc:sldChg chg="modSp mod">
        <pc:chgData name="Mullen (ESO), Paul J" userId="bf3d1d73-b4d7-4bb4-8793-c91dcec30622" providerId="ADAL" clId="{0D112271-62E7-4B10-82BF-D685CEF0D9CB}" dt="2021-12-20T08:30:16.308" v="246" actId="6549"/>
        <pc:sldMkLst>
          <pc:docMk/>
          <pc:sldMk cId="4069766144" sldId="1399"/>
        </pc:sldMkLst>
        <pc:spChg chg="mod">
          <ac:chgData name="Mullen (ESO), Paul J" userId="bf3d1d73-b4d7-4bb4-8793-c91dcec30622" providerId="ADAL" clId="{0D112271-62E7-4B10-82BF-D685CEF0D9CB}" dt="2021-12-20T08:30:16.308" v="246" actId="6549"/>
          <ac:spMkLst>
            <pc:docMk/>
            <pc:sldMk cId="4069766144" sldId="1399"/>
            <ac:spMk id="4" creationId="{00000000-0000-0000-0000-000000000000}"/>
          </ac:spMkLst>
        </pc:spChg>
        <pc:graphicFrameChg chg="mod">
          <ac:chgData name="Mullen (ESO), Paul J" userId="bf3d1d73-b4d7-4bb4-8793-c91dcec30622" providerId="ADAL" clId="{0D112271-62E7-4B10-82BF-D685CEF0D9CB}" dt="2021-11-05T14:29:39.893" v="122" actId="20577"/>
          <ac:graphicFrameMkLst>
            <pc:docMk/>
            <pc:sldMk cId="4069766144" sldId="1399"/>
            <ac:graphicFrameMk id="5" creationId="{69CCDA93-5F31-4AD0-ACB1-0F5F6AFEA016}"/>
          </ac:graphicFrameMkLst>
        </pc:graphicFrameChg>
      </pc:sldChg>
      <pc:sldChg chg="addSp delSp modSp mod">
        <pc:chgData name="Mullen (ESO), Paul J" userId="bf3d1d73-b4d7-4bb4-8793-c91dcec30622" providerId="ADAL" clId="{0D112271-62E7-4B10-82BF-D685CEF0D9CB}" dt="2021-12-20T08:31:54.143" v="263" actId="1076"/>
        <pc:sldMkLst>
          <pc:docMk/>
          <pc:sldMk cId="3749940395" sldId="1433"/>
        </pc:sldMkLst>
        <pc:spChg chg="mod">
          <ac:chgData name="Mullen (ESO), Paul J" userId="bf3d1d73-b4d7-4bb4-8793-c91dcec30622" providerId="ADAL" clId="{0D112271-62E7-4B10-82BF-D685CEF0D9CB}" dt="2021-12-20T08:31:50.444" v="262" actId="1076"/>
          <ac:spMkLst>
            <pc:docMk/>
            <pc:sldMk cId="3749940395" sldId="1433"/>
            <ac:spMk id="2" creationId="{B3092A0B-1CB9-47C9-8A53-DE5D46254E81}"/>
          </ac:spMkLst>
        </pc:spChg>
        <pc:spChg chg="del">
          <ac:chgData name="Mullen (ESO), Paul J" userId="bf3d1d73-b4d7-4bb4-8793-c91dcec30622" providerId="ADAL" clId="{0D112271-62E7-4B10-82BF-D685CEF0D9CB}" dt="2021-12-20T08:31:46.515" v="259" actId="478"/>
          <ac:spMkLst>
            <pc:docMk/>
            <pc:sldMk cId="3749940395" sldId="1433"/>
            <ac:spMk id="5" creationId="{B377480F-050D-446B-8289-531D40C73B99}"/>
          </ac:spMkLst>
        </pc:spChg>
        <pc:spChg chg="add mod">
          <ac:chgData name="Mullen (ESO), Paul J" userId="bf3d1d73-b4d7-4bb4-8793-c91dcec30622" providerId="ADAL" clId="{0D112271-62E7-4B10-82BF-D685CEF0D9CB}" dt="2021-12-20T08:31:54.143" v="263" actId="1076"/>
          <ac:spMkLst>
            <pc:docMk/>
            <pc:sldMk cId="3749940395" sldId="1433"/>
            <ac:spMk id="6" creationId="{DF799BDC-F9B1-4F26-8BFB-81EDDBD1FA0C}"/>
          </ac:spMkLst>
        </pc:spChg>
      </pc:sldChg>
      <pc:sldChg chg="addSp delSp modSp mod">
        <pc:chgData name="Mullen (ESO), Paul J" userId="bf3d1d73-b4d7-4bb4-8793-c91dcec30622" providerId="ADAL" clId="{0D112271-62E7-4B10-82BF-D685CEF0D9CB}" dt="2021-12-20T08:29:38.410" v="216" actId="478"/>
        <pc:sldMkLst>
          <pc:docMk/>
          <pc:sldMk cId="1467341039" sldId="1434"/>
        </pc:sldMkLst>
        <pc:spChg chg="del">
          <ac:chgData name="Mullen (ESO), Paul J" userId="bf3d1d73-b4d7-4bb4-8793-c91dcec30622" providerId="ADAL" clId="{0D112271-62E7-4B10-82BF-D685CEF0D9CB}" dt="2021-12-20T08:29:32.081" v="214" actId="478"/>
          <ac:spMkLst>
            <pc:docMk/>
            <pc:sldMk cId="1467341039" sldId="1434"/>
            <ac:spMk id="2" creationId="{45962E1F-3E2E-4800-B746-C2585194061B}"/>
          </ac:spMkLst>
        </pc:spChg>
        <pc:spChg chg="add del mod">
          <ac:chgData name="Mullen (ESO), Paul J" userId="bf3d1d73-b4d7-4bb4-8793-c91dcec30622" providerId="ADAL" clId="{0D112271-62E7-4B10-82BF-D685CEF0D9CB}" dt="2021-12-20T08:29:29.491" v="213" actId="478"/>
          <ac:spMkLst>
            <pc:docMk/>
            <pc:sldMk cId="1467341039" sldId="1434"/>
            <ac:spMk id="4" creationId="{22356F68-4C54-4074-A838-0087D7E5F064}"/>
          </ac:spMkLst>
        </pc:spChg>
        <pc:spChg chg="add del mod">
          <ac:chgData name="Mullen (ESO), Paul J" userId="bf3d1d73-b4d7-4bb4-8793-c91dcec30622" providerId="ADAL" clId="{0D112271-62E7-4B10-82BF-D685CEF0D9CB}" dt="2021-12-20T08:29:38.410" v="216" actId="478"/>
          <ac:spMkLst>
            <pc:docMk/>
            <pc:sldMk cId="1467341039" sldId="1434"/>
            <ac:spMk id="6" creationId="{F2694594-AB3E-48A5-B760-5C17B4AC0819}"/>
          </ac:spMkLst>
        </pc:spChg>
        <pc:spChg chg="add mod">
          <ac:chgData name="Mullen (ESO), Paul J" userId="bf3d1d73-b4d7-4bb4-8793-c91dcec30622" providerId="ADAL" clId="{0D112271-62E7-4B10-82BF-D685CEF0D9CB}" dt="2021-12-20T08:29:33.036" v="215"/>
          <ac:spMkLst>
            <pc:docMk/>
            <pc:sldMk cId="1467341039" sldId="1434"/>
            <ac:spMk id="7" creationId="{EA0665D2-3E02-44E7-BA17-BDE878441CC1}"/>
          </ac:spMkLst>
        </pc:spChg>
      </pc:sldChg>
      <pc:sldChg chg="addSp delSp modSp mod">
        <pc:chgData name="Mullen (ESO), Paul J" userId="bf3d1d73-b4d7-4bb4-8793-c91dcec30622" providerId="ADAL" clId="{0D112271-62E7-4B10-82BF-D685CEF0D9CB}" dt="2021-12-20T08:38:40.609" v="1112" actId="20577"/>
        <pc:sldMkLst>
          <pc:docMk/>
          <pc:sldMk cId="1257651181" sldId="1435"/>
        </pc:sldMkLst>
        <pc:spChg chg="add mod">
          <ac:chgData name="Mullen (ESO), Paul J" userId="bf3d1d73-b4d7-4bb4-8793-c91dcec30622" providerId="ADAL" clId="{0D112271-62E7-4B10-82BF-D685CEF0D9CB}" dt="2021-12-20T08:38:40.609" v="1112" actId="20577"/>
          <ac:spMkLst>
            <pc:docMk/>
            <pc:sldMk cId="1257651181" sldId="1435"/>
            <ac:spMk id="2" creationId="{5B25B274-6493-4652-B68A-BB8B5770FE4F}"/>
          </ac:spMkLst>
        </pc:spChg>
        <pc:spChg chg="mod">
          <ac:chgData name="Mullen (ESO), Paul J" userId="bf3d1d73-b4d7-4bb4-8793-c91dcec30622" providerId="ADAL" clId="{0D112271-62E7-4B10-82BF-D685CEF0D9CB}" dt="2021-12-20T08:29:01.577" v="211" actId="13926"/>
          <ac:spMkLst>
            <pc:docMk/>
            <pc:sldMk cId="1257651181" sldId="1435"/>
            <ac:spMk id="4" creationId="{00000000-0000-0000-0000-000000000000}"/>
          </ac:spMkLst>
        </pc:spChg>
        <pc:graphicFrameChg chg="del">
          <ac:chgData name="Mullen (ESO), Paul J" userId="bf3d1d73-b4d7-4bb4-8793-c91dcec30622" providerId="ADAL" clId="{0D112271-62E7-4B10-82BF-D685CEF0D9CB}" dt="2021-12-20T08:27:44.824" v="184" actId="478"/>
          <ac:graphicFrameMkLst>
            <pc:docMk/>
            <pc:sldMk cId="1257651181" sldId="1435"/>
            <ac:graphicFrameMk id="6" creationId="{C2CEFEBD-2942-4E62-B0EC-24C5B2F08FB5}"/>
          </ac:graphicFrameMkLst>
        </pc:graphicFrameChg>
      </pc:sldChg>
      <pc:sldChg chg="addSp delSp modSp mod">
        <pc:chgData name="Mullen (ESO), Paul J" userId="bf3d1d73-b4d7-4bb4-8793-c91dcec30622" providerId="ADAL" clId="{0D112271-62E7-4B10-82BF-D685CEF0D9CB}" dt="2021-12-20T08:31:33.798" v="257" actId="1076"/>
        <pc:sldMkLst>
          <pc:docMk/>
          <pc:sldMk cId="266562009" sldId="1436"/>
        </pc:sldMkLst>
        <pc:spChg chg="del">
          <ac:chgData name="Mullen (ESO), Paul J" userId="bf3d1d73-b4d7-4bb4-8793-c91dcec30622" providerId="ADAL" clId="{0D112271-62E7-4B10-82BF-D685CEF0D9CB}" dt="2021-12-20T08:30:31.907" v="247" actId="478"/>
          <ac:spMkLst>
            <pc:docMk/>
            <pc:sldMk cId="266562009" sldId="1436"/>
            <ac:spMk id="2" creationId="{45962E1F-3E2E-4800-B746-C2585194061B}"/>
          </ac:spMkLst>
        </pc:spChg>
        <pc:spChg chg="add del mod">
          <ac:chgData name="Mullen (ESO), Paul J" userId="bf3d1d73-b4d7-4bb4-8793-c91dcec30622" providerId="ADAL" clId="{0D112271-62E7-4B10-82BF-D685CEF0D9CB}" dt="2021-12-20T08:31:29.567" v="255" actId="478"/>
          <ac:spMkLst>
            <pc:docMk/>
            <pc:sldMk cId="266562009" sldId="1436"/>
            <ac:spMk id="5" creationId="{82E0EC9D-1C9D-4639-9493-E3DB7550DA7D}"/>
          </ac:spMkLst>
        </pc:spChg>
        <pc:spChg chg="add mod">
          <ac:chgData name="Mullen (ESO), Paul J" userId="bf3d1d73-b4d7-4bb4-8793-c91dcec30622" providerId="ADAL" clId="{0D112271-62E7-4B10-82BF-D685CEF0D9CB}" dt="2021-12-20T08:31:33.798" v="257" actId="1076"/>
          <ac:spMkLst>
            <pc:docMk/>
            <pc:sldMk cId="266562009" sldId="1436"/>
            <ac:spMk id="6" creationId="{9EF1DD5D-9EE3-4A13-800E-7B517DD47E99}"/>
          </ac:spMkLst>
        </pc:spChg>
      </pc:sldChg>
      <pc:sldChg chg="modSp del mod">
        <pc:chgData name="Mullen (ESO), Paul J" userId="bf3d1d73-b4d7-4bb4-8793-c91dcec30622" providerId="ADAL" clId="{0D112271-62E7-4B10-82BF-D685CEF0D9CB}" dt="2021-11-05T14:30:18.747" v="154" actId="47"/>
        <pc:sldMkLst>
          <pc:docMk/>
          <pc:sldMk cId="138792161" sldId="1437"/>
        </pc:sldMkLst>
        <pc:spChg chg="mod">
          <ac:chgData name="Mullen (ESO), Paul J" userId="bf3d1d73-b4d7-4bb4-8793-c91dcec30622" providerId="ADAL" clId="{0D112271-62E7-4B10-82BF-D685CEF0D9CB}" dt="2021-11-05T14:30:07.938" v="153" actId="1076"/>
          <ac:spMkLst>
            <pc:docMk/>
            <pc:sldMk cId="138792161" sldId="1437"/>
            <ac:spMk id="2" creationId="{45962E1F-3E2E-4800-B746-C2585194061B}"/>
          </ac:spMkLst>
        </pc:spChg>
      </pc:sldChg>
      <pc:sldChg chg="modSp mod">
        <pc:chgData name="Mullen (ESO), Paul J" userId="bf3d1d73-b4d7-4bb4-8793-c91dcec30622" providerId="ADAL" clId="{0D112271-62E7-4B10-82BF-D685CEF0D9CB}" dt="2021-12-20T08:38:59.751" v="1114" actId="1076"/>
        <pc:sldMkLst>
          <pc:docMk/>
          <pc:sldMk cId="1871922593" sldId="1438"/>
        </pc:sldMkLst>
        <pc:spChg chg="mod">
          <ac:chgData name="Mullen (ESO), Paul J" userId="bf3d1d73-b4d7-4bb4-8793-c91dcec30622" providerId="ADAL" clId="{0D112271-62E7-4B10-82BF-D685CEF0D9CB}" dt="2021-12-20T08:38:59.751" v="1114" actId="1076"/>
          <ac:spMkLst>
            <pc:docMk/>
            <pc:sldMk cId="1871922593" sldId="1438"/>
            <ac:spMk id="12" creationId="{A7FDD403-51CC-4729-880C-5AB9B7459428}"/>
          </ac:spMkLst>
        </pc:spChg>
      </pc:sldChg>
      <pc:sldChg chg="addSp delSp modSp mod">
        <pc:chgData name="Mullen (ESO), Paul J" userId="bf3d1d73-b4d7-4bb4-8793-c91dcec30622" providerId="ADAL" clId="{0D112271-62E7-4B10-82BF-D685CEF0D9CB}" dt="2021-12-20T08:39:33.130" v="1118" actId="1076"/>
        <pc:sldMkLst>
          <pc:docMk/>
          <pc:sldMk cId="926587455" sldId="1439"/>
        </pc:sldMkLst>
        <pc:spChg chg="mod">
          <ac:chgData name="Mullen (ESO), Paul J" userId="bf3d1d73-b4d7-4bb4-8793-c91dcec30622" providerId="ADAL" clId="{0D112271-62E7-4B10-82BF-D685CEF0D9CB}" dt="2021-12-20T08:39:33.130" v="1118" actId="1076"/>
          <ac:spMkLst>
            <pc:docMk/>
            <pc:sldMk cId="926587455" sldId="1439"/>
            <ac:spMk id="3" creationId="{A988FD65-247D-4210-B048-12258ADD0D92}"/>
          </ac:spMkLst>
        </pc:spChg>
        <pc:spChg chg="del">
          <ac:chgData name="Mullen (ESO), Paul J" userId="bf3d1d73-b4d7-4bb4-8793-c91dcec30622" providerId="ADAL" clId="{0D112271-62E7-4B10-82BF-D685CEF0D9CB}" dt="2021-12-20T08:39:15.788" v="1115" actId="478"/>
          <ac:spMkLst>
            <pc:docMk/>
            <pc:sldMk cId="926587455" sldId="1439"/>
            <ac:spMk id="5" creationId="{B377480F-050D-446B-8289-531D40C73B99}"/>
          </ac:spMkLst>
        </pc:spChg>
        <pc:spChg chg="add mod">
          <ac:chgData name="Mullen (ESO), Paul J" userId="bf3d1d73-b4d7-4bb4-8793-c91dcec30622" providerId="ADAL" clId="{0D112271-62E7-4B10-82BF-D685CEF0D9CB}" dt="2021-12-20T08:39:27.465" v="1116"/>
          <ac:spMkLst>
            <pc:docMk/>
            <pc:sldMk cId="926587455" sldId="1439"/>
            <ac:spMk id="6" creationId="{4C3C9828-54A3-4BC1-A438-A846337C2A04}"/>
          </ac:spMkLst>
        </pc:spChg>
      </pc:sldChg>
      <pc:sldChg chg="del">
        <pc:chgData name="Mullen (ESO), Paul J" userId="bf3d1d73-b4d7-4bb4-8793-c91dcec30622" providerId="ADAL" clId="{0D112271-62E7-4B10-82BF-D685CEF0D9CB}" dt="2021-11-15T21:00:43.436" v="183" actId="47"/>
        <pc:sldMkLst>
          <pc:docMk/>
          <pc:sldMk cId="3437897597" sldId="5943"/>
        </pc:sldMkLst>
      </pc:sldChg>
      <pc:sldChg chg="addSp modSp add mod">
        <pc:chgData name="Mullen (ESO), Paul J" userId="bf3d1d73-b4d7-4bb4-8793-c91dcec30622" providerId="ADAL" clId="{0D112271-62E7-4B10-82BF-D685CEF0D9CB}" dt="2021-12-20T08:30:52.269" v="249"/>
        <pc:sldMkLst>
          <pc:docMk/>
          <pc:sldMk cId="2227445331" sldId="5944"/>
        </pc:sldMkLst>
        <pc:spChg chg="mod">
          <ac:chgData name="Mullen (ESO), Paul J" userId="bf3d1d73-b4d7-4bb4-8793-c91dcec30622" providerId="ADAL" clId="{0D112271-62E7-4B10-82BF-D685CEF0D9CB}" dt="2021-12-20T08:28:49.103" v="210" actId="1076"/>
          <ac:spMkLst>
            <pc:docMk/>
            <pc:sldMk cId="2227445331" sldId="5944"/>
            <ac:spMk id="2" creationId="{45962E1F-3E2E-4800-B746-C2585194061B}"/>
          </ac:spMkLst>
        </pc:spChg>
        <pc:spChg chg="mod">
          <ac:chgData name="Mullen (ESO), Paul J" userId="bf3d1d73-b4d7-4bb4-8793-c91dcec30622" providerId="ADAL" clId="{0D112271-62E7-4B10-82BF-D685CEF0D9CB}" dt="2021-11-05T14:30:52.062" v="182" actId="20577"/>
          <ac:spMkLst>
            <pc:docMk/>
            <pc:sldMk cId="2227445331" sldId="5944"/>
            <ac:spMk id="3" creationId="{C9BE2949-70F1-4A3B-B3AF-B6A47E266139}"/>
          </ac:spMkLst>
        </pc:spChg>
        <pc:spChg chg="add mod">
          <ac:chgData name="Mullen (ESO), Paul J" userId="bf3d1d73-b4d7-4bb4-8793-c91dcec30622" providerId="ADAL" clId="{0D112271-62E7-4B10-82BF-D685CEF0D9CB}" dt="2021-12-20T08:30:52.269" v="249"/>
          <ac:spMkLst>
            <pc:docMk/>
            <pc:sldMk cId="2227445331" sldId="5944"/>
            <ac:spMk id="4" creationId="{F28FC82F-7F85-42FB-801B-534BC14600E4}"/>
          </ac:spMkLst>
        </pc:spChg>
      </pc:sldChg>
      <pc:sldChg chg="del">
        <pc:chgData name="Mullen (ESO), Paul J" userId="bf3d1d73-b4d7-4bb4-8793-c91dcec30622" providerId="ADAL" clId="{0D112271-62E7-4B10-82BF-D685CEF0D9CB}" dt="2021-11-05T14:30:27.464" v="156" actId="47"/>
        <pc:sldMkLst>
          <pc:docMk/>
          <pc:sldMk cId="2981969233" sldId="5946"/>
        </pc:sldMkLst>
      </pc:sldChg>
      <pc:sldChg chg="del">
        <pc:chgData name="Mullen (ESO), Paul J" userId="bf3d1d73-b4d7-4bb4-8793-c91dcec30622" providerId="ADAL" clId="{0D112271-62E7-4B10-82BF-D685CEF0D9CB}" dt="2021-11-05T14:30:21.419" v="155" actId="47"/>
        <pc:sldMkLst>
          <pc:docMk/>
          <pc:sldMk cId="834934378" sldId="5965"/>
        </pc:sldMkLst>
      </pc:sldChg>
      <pc:sldChg chg="del">
        <pc:chgData name="Mullen (ESO), Paul J" userId="bf3d1d73-b4d7-4bb4-8793-c91dcec30622" providerId="ADAL" clId="{0D112271-62E7-4B10-82BF-D685CEF0D9CB}" dt="2021-11-05T14:30:36.210" v="164" actId="47"/>
        <pc:sldMkLst>
          <pc:docMk/>
          <pc:sldMk cId="4002503111" sldId="5966"/>
        </pc:sldMkLst>
      </pc:sldChg>
      <pc:sldChg chg="del">
        <pc:chgData name="Mullen (ESO), Paul J" userId="bf3d1d73-b4d7-4bb4-8793-c91dcec30622" providerId="ADAL" clId="{0D112271-62E7-4B10-82BF-D685CEF0D9CB}" dt="2021-11-05T14:30:41.595" v="167" actId="47"/>
        <pc:sldMkLst>
          <pc:docMk/>
          <pc:sldMk cId="4154619028" sldId="5967"/>
        </pc:sldMkLst>
      </pc:sldChg>
      <pc:sldChg chg="del">
        <pc:chgData name="Mullen (ESO), Paul J" userId="bf3d1d73-b4d7-4bb4-8793-c91dcec30622" providerId="ADAL" clId="{0D112271-62E7-4B10-82BF-D685CEF0D9CB}" dt="2021-11-05T14:30:30.902" v="157" actId="47"/>
        <pc:sldMkLst>
          <pc:docMk/>
          <pc:sldMk cId="2587153484" sldId="5968"/>
        </pc:sldMkLst>
      </pc:sldChg>
      <pc:sldChg chg="del">
        <pc:chgData name="Mullen (ESO), Paul J" userId="bf3d1d73-b4d7-4bb4-8793-c91dcec30622" providerId="ADAL" clId="{0D112271-62E7-4B10-82BF-D685CEF0D9CB}" dt="2021-11-05T14:30:27.464" v="156" actId="47"/>
        <pc:sldMkLst>
          <pc:docMk/>
          <pc:sldMk cId="3359820781" sldId="5970"/>
        </pc:sldMkLst>
      </pc:sldChg>
      <pc:sldChg chg="del">
        <pc:chgData name="Mullen (ESO), Paul J" userId="bf3d1d73-b4d7-4bb4-8793-c91dcec30622" providerId="ADAL" clId="{0D112271-62E7-4B10-82BF-D685CEF0D9CB}" dt="2021-11-05T14:30:27.464" v="156" actId="47"/>
        <pc:sldMkLst>
          <pc:docMk/>
          <pc:sldMk cId="378423834" sldId="5971"/>
        </pc:sldMkLst>
      </pc:sldChg>
      <pc:sldChg chg="del">
        <pc:chgData name="Mullen (ESO), Paul J" userId="bf3d1d73-b4d7-4bb4-8793-c91dcec30622" providerId="ADAL" clId="{0D112271-62E7-4B10-82BF-D685CEF0D9CB}" dt="2021-11-05T14:30:27.464" v="156" actId="47"/>
        <pc:sldMkLst>
          <pc:docMk/>
          <pc:sldMk cId="2413491371" sldId="5972"/>
        </pc:sldMkLst>
      </pc:sldChg>
      <pc:sldChg chg="del">
        <pc:chgData name="Mullen (ESO), Paul J" userId="bf3d1d73-b4d7-4bb4-8793-c91dcec30622" providerId="ADAL" clId="{0D112271-62E7-4B10-82BF-D685CEF0D9CB}" dt="2021-11-05T14:30:33.518" v="159" actId="47"/>
        <pc:sldMkLst>
          <pc:docMk/>
          <pc:sldMk cId="3721304097" sldId="5973"/>
        </pc:sldMkLst>
      </pc:sldChg>
      <pc:sldChg chg="del">
        <pc:chgData name="Mullen (ESO), Paul J" userId="bf3d1d73-b4d7-4bb4-8793-c91dcec30622" providerId="ADAL" clId="{0D112271-62E7-4B10-82BF-D685CEF0D9CB}" dt="2021-11-05T14:30:34.123" v="160" actId="47"/>
        <pc:sldMkLst>
          <pc:docMk/>
          <pc:sldMk cId="2641996136" sldId="5974"/>
        </pc:sldMkLst>
      </pc:sldChg>
      <pc:sldChg chg="del">
        <pc:chgData name="Mullen (ESO), Paul J" userId="bf3d1d73-b4d7-4bb4-8793-c91dcec30622" providerId="ADAL" clId="{0D112271-62E7-4B10-82BF-D685CEF0D9CB}" dt="2021-11-05T14:30:38.429" v="166" actId="47"/>
        <pc:sldMkLst>
          <pc:docMk/>
          <pc:sldMk cId="1388376587" sldId="5975"/>
        </pc:sldMkLst>
      </pc:sldChg>
      <pc:sldChg chg="del">
        <pc:chgData name="Mullen (ESO), Paul J" userId="bf3d1d73-b4d7-4bb4-8793-c91dcec30622" providerId="ADAL" clId="{0D112271-62E7-4B10-82BF-D685CEF0D9CB}" dt="2021-11-05T14:30:34.762" v="161" actId="47"/>
        <pc:sldMkLst>
          <pc:docMk/>
          <pc:sldMk cId="1514878141" sldId="5976"/>
        </pc:sldMkLst>
      </pc:sldChg>
      <pc:sldChg chg="del">
        <pc:chgData name="Mullen (ESO), Paul J" userId="bf3d1d73-b4d7-4bb4-8793-c91dcec30622" providerId="ADAL" clId="{0D112271-62E7-4B10-82BF-D685CEF0D9CB}" dt="2021-11-05T14:30:27.464" v="156" actId="47"/>
        <pc:sldMkLst>
          <pc:docMk/>
          <pc:sldMk cId="1334503746" sldId="5977"/>
        </pc:sldMkLst>
      </pc:sldChg>
      <pc:sldChg chg="del">
        <pc:chgData name="Mullen (ESO), Paul J" userId="bf3d1d73-b4d7-4bb4-8793-c91dcec30622" providerId="ADAL" clId="{0D112271-62E7-4B10-82BF-D685CEF0D9CB}" dt="2021-11-05T14:30:35.240" v="162" actId="47"/>
        <pc:sldMkLst>
          <pc:docMk/>
          <pc:sldMk cId="2441243760" sldId="5978"/>
        </pc:sldMkLst>
      </pc:sldChg>
      <pc:sldChg chg="del">
        <pc:chgData name="Mullen (ESO), Paul J" userId="bf3d1d73-b4d7-4bb4-8793-c91dcec30622" providerId="ADAL" clId="{0D112271-62E7-4B10-82BF-D685CEF0D9CB}" dt="2021-11-05T14:30:35.725" v="163" actId="47"/>
        <pc:sldMkLst>
          <pc:docMk/>
          <pc:sldMk cId="1237449129" sldId="5979"/>
        </pc:sldMkLst>
      </pc:sldChg>
      <pc:sldChg chg="del">
        <pc:chgData name="Mullen (ESO), Paul J" userId="bf3d1d73-b4d7-4bb4-8793-c91dcec30622" providerId="ADAL" clId="{0D112271-62E7-4B10-82BF-D685CEF0D9CB}" dt="2021-11-05T14:30:32.975" v="158" actId="47"/>
        <pc:sldMkLst>
          <pc:docMk/>
          <pc:sldMk cId="3615477132" sldId="5980"/>
        </pc:sldMkLst>
      </pc:sldChg>
      <pc:sldMasterChg chg="delSldLayout">
        <pc:chgData name="Mullen (ESO), Paul J" userId="bf3d1d73-b4d7-4bb4-8793-c91dcec30622" providerId="ADAL" clId="{0D112271-62E7-4B10-82BF-D685CEF0D9CB}" dt="2021-11-15T21:00:43.436" v="183" actId="47"/>
        <pc:sldMasterMkLst>
          <pc:docMk/>
          <pc:sldMasterMk cId="1585204217" sldId="2147483660"/>
        </pc:sldMasterMkLst>
        <pc:sldLayoutChg chg="del">
          <pc:chgData name="Mullen (ESO), Paul J" userId="bf3d1d73-b4d7-4bb4-8793-c91dcec30622" providerId="ADAL" clId="{0D112271-62E7-4B10-82BF-D685CEF0D9CB}" dt="2021-11-15T21:00:43.436" v="183" actId="47"/>
          <pc:sldLayoutMkLst>
            <pc:docMk/>
            <pc:sldMasterMk cId="1585204217" sldId="2147483660"/>
            <pc:sldLayoutMk cId="3517721681" sldId="2147483773"/>
          </pc:sldLayoutMkLst>
        </pc:sldLayoutChg>
        <pc:sldLayoutChg chg="del">
          <pc:chgData name="Mullen (ESO), Paul J" userId="bf3d1d73-b4d7-4bb4-8793-c91dcec30622" providerId="ADAL" clId="{0D112271-62E7-4B10-82BF-D685CEF0D9CB}" dt="2021-11-05T14:30:41.595" v="167" actId="47"/>
          <pc:sldLayoutMkLst>
            <pc:docMk/>
            <pc:sldMasterMk cId="1585204217" sldId="2147483660"/>
            <pc:sldLayoutMk cId="2690580462" sldId="2147483774"/>
          </pc:sldLayoutMkLst>
        </pc:sldLayoutChg>
      </pc:sldMasterChg>
    </pc:docChg>
  </pc:docChgLst>
  <pc:docChgLst>
    <pc:chgData name="Akhtar (ESO), Shazia" userId="S::shazia.akhtar1@uk.nationalgrid.com::bde2a00d-0eb8-4377-8745-3ecad4b938e1" providerId="AD" clId="Web-{2017D195-8A33-E5CF-F874-DCA272837899}"/>
    <pc:docChg chg="modSld">
      <pc:chgData name="Akhtar (ESO), Shazia" userId="S::shazia.akhtar1@uk.nationalgrid.com::bde2a00d-0eb8-4377-8745-3ecad4b938e1" providerId="AD" clId="Web-{2017D195-8A33-E5CF-F874-DCA272837899}" dt="2021-10-18T10:16:44.567" v="10" actId="20577"/>
      <pc:docMkLst>
        <pc:docMk/>
      </pc:docMkLst>
      <pc:sldChg chg="modSp">
        <pc:chgData name="Akhtar (ESO), Shazia" userId="S::shazia.akhtar1@uk.nationalgrid.com::bde2a00d-0eb8-4377-8745-3ecad4b938e1" providerId="AD" clId="Web-{2017D195-8A33-E5CF-F874-DCA272837899}" dt="2021-10-18T10:10:07.399" v="2" actId="1076"/>
        <pc:sldMkLst>
          <pc:docMk/>
          <pc:sldMk cId="1677954264" sldId="1126"/>
        </pc:sldMkLst>
        <pc:spChg chg="mod">
          <ac:chgData name="Akhtar (ESO), Shazia" userId="S::shazia.akhtar1@uk.nationalgrid.com::bde2a00d-0eb8-4377-8745-3ecad4b938e1" providerId="AD" clId="Web-{2017D195-8A33-E5CF-F874-DCA272837899}" dt="2021-10-18T10:09:43.789" v="0" actId="1076"/>
          <ac:spMkLst>
            <pc:docMk/>
            <pc:sldMk cId="1677954264" sldId="1126"/>
            <ac:spMk id="2" creationId="{0CDA9072-F464-487A-8933-2350A3A6AE34}"/>
          </ac:spMkLst>
        </pc:spChg>
        <pc:graphicFrameChg chg="mod">
          <ac:chgData name="Akhtar (ESO), Shazia" userId="S::shazia.akhtar1@uk.nationalgrid.com::bde2a00d-0eb8-4377-8745-3ecad4b938e1" providerId="AD" clId="Web-{2017D195-8A33-E5CF-F874-DCA272837899}" dt="2021-10-18T10:10:07.399" v="2" actId="1076"/>
          <ac:graphicFrameMkLst>
            <pc:docMk/>
            <pc:sldMk cId="1677954264" sldId="1126"/>
            <ac:graphicFrameMk id="7" creationId="{7BE44EE5-25E9-49FA-BAC5-ED9CA495B1DD}"/>
          </ac:graphicFrameMkLst>
        </pc:graphicFrameChg>
      </pc:sldChg>
      <pc:sldChg chg="modSp">
        <pc:chgData name="Akhtar (ESO), Shazia" userId="S::shazia.akhtar1@uk.nationalgrid.com::bde2a00d-0eb8-4377-8745-3ecad4b938e1" providerId="AD" clId="Web-{2017D195-8A33-E5CF-F874-DCA272837899}" dt="2021-10-18T10:16:44.567" v="10" actId="20577"/>
        <pc:sldMkLst>
          <pc:docMk/>
          <pc:sldMk cId="4069766144" sldId="1399"/>
        </pc:sldMkLst>
        <pc:graphicFrameChg chg="modGraphic">
          <ac:chgData name="Akhtar (ESO), Shazia" userId="S::shazia.akhtar1@uk.nationalgrid.com::bde2a00d-0eb8-4377-8745-3ecad4b938e1" providerId="AD" clId="Web-{2017D195-8A33-E5CF-F874-DCA272837899}" dt="2021-10-18T10:16:44.567" v="10" actId="20577"/>
          <ac:graphicFrameMkLst>
            <pc:docMk/>
            <pc:sldMk cId="4069766144" sldId="1399"/>
            <ac:graphicFrameMk id="5" creationId="{69CCDA93-5F31-4AD0-ACB1-0F5F6AFEA016}"/>
          </ac:graphicFrameMkLst>
        </pc:graphicFrameChg>
      </pc:sldChg>
    </pc:docChg>
  </pc:docChgLst>
  <pc:docChgLst>
    <pc:chgData name="Akhtar (ESO), Shazia" userId="S::shazia.akhtar1@uk.nationalgrid.com::bde2a00d-0eb8-4377-8745-3ecad4b938e1" providerId="AD" clId="Web-{2AB92380-EC2E-EA0E-965D-6EA01070ED24}"/>
    <pc:docChg chg="modSld">
      <pc:chgData name="Akhtar (ESO), Shazia" userId="S::shazia.akhtar1@uk.nationalgrid.com::bde2a00d-0eb8-4377-8745-3ecad4b938e1" providerId="AD" clId="Web-{2AB92380-EC2E-EA0E-965D-6EA01070ED24}" dt="2021-10-28T07:22:54.704" v="1"/>
      <pc:docMkLst>
        <pc:docMk/>
      </pc:docMkLst>
      <pc:sldChg chg="addSp delSp modSp">
        <pc:chgData name="Akhtar (ESO), Shazia" userId="S::shazia.akhtar1@uk.nationalgrid.com::bde2a00d-0eb8-4377-8745-3ecad4b938e1" providerId="AD" clId="Web-{2AB92380-EC2E-EA0E-965D-6EA01070ED24}" dt="2021-10-28T07:22:54.704" v="1"/>
        <pc:sldMkLst>
          <pc:docMk/>
          <pc:sldMk cId="138792161" sldId="1437"/>
        </pc:sldMkLst>
        <pc:picChg chg="add del mod">
          <ac:chgData name="Akhtar (ESO), Shazia" userId="S::shazia.akhtar1@uk.nationalgrid.com::bde2a00d-0eb8-4377-8745-3ecad4b938e1" providerId="AD" clId="Web-{2AB92380-EC2E-EA0E-965D-6EA01070ED24}" dt="2021-10-28T07:22:54.704" v="1"/>
          <ac:picMkLst>
            <pc:docMk/>
            <pc:sldMk cId="138792161" sldId="1437"/>
            <ac:picMk id="4" creationId="{A336F2A6-FFD6-45E2-AE0E-C200C912C09B}"/>
          </ac:picMkLst>
        </pc:picChg>
      </pc:sldChg>
    </pc:docChg>
  </pc:docChgLst>
  <pc:docChgLst>
    <pc:chgData name="Mullen (ESO), Paul J" userId="bf3d1d73-b4d7-4bb4-8793-c91dcec30622" providerId="ADAL" clId="{A5B10780-F387-4111-A3F9-FB21FF27FC8E}"/>
    <pc:docChg chg="undo custSel addSld delSld modSld addMainMaster delMainMaster modSection">
      <pc:chgData name="Mullen (ESO), Paul J" userId="bf3d1d73-b4d7-4bb4-8793-c91dcec30622" providerId="ADAL" clId="{A5B10780-F387-4111-A3F9-FB21FF27FC8E}" dt="2021-12-20T17:19:59.943" v="648" actId="1076"/>
      <pc:docMkLst>
        <pc:docMk/>
      </pc:docMkLst>
      <pc:sldChg chg="modSp mod">
        <pc:chgData name="Mullen (ESO), Paul J" userId="bf3d1d73-b4d7-4bb4-8793-c91dcec30622" providerId="ADAL" clId="{A5B10780-F387-4111-A3F9-FB21FF27FC8E}" dt="2021-12-20T16:19:14.931" v="197" actId="13926"/>
        <pc:sldMkLst>
          <pc:docMk/>
          <pc:sldMk cId="4166818921" sldId="259"/>
        </pc:sldMkLst>
        <pc:spChg chg="mod">
          <ac:chgData name="Mullen (ESO), Paul J" userId="bf3d1d73-b4d7-4bb4-8793-c91dcec30622" providerId="ADAL" clId="{A5B10780-F387-4111-A3F9-FB21FF27FC8E}" dt="2021-12-20T16:19:14.931" v="197" actId="13926"/>
          <ac:spMkLst>
            <pc:docMk/>
            <pc:sldMk cId="4166818921" sldId="259"/>
            <ac:spMk id="4" creationId="{239D8572-4B80-43C0-A793-A677B76538B7}"/>
          </ac:spMkLst>
        </pc:spChg>
        <pc:spChg chg="mod">
          <ac:chgData name="Mullen (ESO), Paul J" userId="bf3d1d73-b4d7-4bb4-8793-c91dcec30622" providerId="ADAL" clId="{A5B10780-F387-4111-A3F9-FB21FF27FC8E}" dt="2021-12-20T16:19:11.816" v="196" actId="13926"/>
          <ac:spMkLst>
            <pc:docMk/>
            <pc:sldMk cId="4166818921" sldId="259"/>
            <ac:spMk id="5" creationId="{4FBA6ABF-CE97-446E-AFED-BDC24A2E4D0F}"/>
          </ac:spMkLst>
        </pc:spChg>
      </pc:sldChg>
      <pc:sldChg chg="add del">
        <pc:chgData name="Mullen (ESO), Paul J" userId="bf3d1d73-b4d7-4bb4-8793-c91dcec30622" providerId="ADAL" clId="{A5B10780-F387-4111-A3F9-FB21FF27FC8E}" dt="2021-12-20T16:18:04.609" v="87" actId="2696"/>
        <pc:sldMkLst>
          <pc:docMk/>
          <pc:sldMk cId="3490389070" sldId="377"/>
        </pc:sldMkLst>
      </pc:sldChg>
      <pc:sldChg chg="add del">
        <pc:chgData name="Mullen (ESO), Paul J" userId="bf3d1d73-b4d7-4bb4-8793-c91dcec30622" providerId="ADAL" clId="{A5B10780-F387-4111-A3F9-FB21FF27FC8E}" dt="2021-12-20T16:18:04.609" v="87" actId="2696"/>
        <pc:sldMkLst>
          <pc:docMk/>
          <pc:sldMk cId="79833655" sldId="378"/>
        </pc:sldMkLst>
      </pc:sldChg>
      <pc:sldChg chg="add del">
        <pc:chgData name="Mullen (ESO), Paul J" userId="bf3d1d73-b4d7-4bb4-8793-c91dcec30622" providerId="ADAL" clId="{A5B10780-F387-4111-A3F9-FB21FF27FC8E}" dt="2021-12-20T16:18:04.609" v="87" actId="2696"/>
        <pc:sldMkLst>
          <pc:docMk/>
          <pc:sldMk cId="3815223493" sldId="379"/>
        </pc:sldMkLst>
      </pc:sldChg>
      <pc:sldChg chg="delSp modSp del mod">
        <pc:chgData name="Mullen (ESO), Paul J" userId="bf3d1d73-b4d7-4bb4-8793-c91dcec30622" providerId="ADAL" clId="{A5B10780-F387-4111-A3F9-FB21FF27FC8E}" dt="2021-12-20T16:25:38.630" v="605" actId="47"/>
        <pc:sldMkLst>
          <pc:docMk/>
          <pc:sldMk cId="1677954264" sldId="1126"/>
        </pc:sldMkLst>
        <pc:spChg chg="mod">
          <ac:chgData name="Mullen (ESO), Paul J" userId="bf3d1d73-b4d7-4bb4-8793-c91dcec30622" providerId="ADAL" clId="{A5B10780-F387-4111-A3F9-FB21FF27FC8E}" dt="2021-12-20T16:20:55.711" v="290" actId="20577"/>
          <ac:spMkLst>
            <pc:docMk/>
            <pc:sldMk cId="1677954264" sldId="1126"/>
            <ac:spMk id="2" creationId="{0CDA9072-F464-487A-8933-2350A3A6AE34}"/>
          </ac:spMkLst>
        </pc:spChg>
        <pc:spChg chg="del">
          <ac:chgData name="Mullen (ESO), Paul J" userId="bf3d1d73-b4d7-4bb4-8793-c91dcec30622" providerId="ADAL" clId="{A5B10780-F387-4111-A3F9-FB21FF27FC8E}" dt="2021-12-20T16:20:58.090" v="291" actId="478"/>
          <ac:spMkLst>
            <pc:docMk/>
            <pc:sldMk cId="1677954264" sldId="1126"/>
            <ac:spMk id="4" creationId="{8E339D6A-919B-4755-8693-A16611EF19F1}"/>
          </ac:spMkLst>
        </pc:spChg>
      </pc:sldChg>
      <pc:sldChg chg="modSp mod">
        <pc:chgData name="Mullen (ESO), Paul J" userId="bf3d1d73-b4d7-4bb4-8793-c91dcec30622" providerId="ADAL" clId="{A5B10780-F387-4111-A3F9-FB21FF27FC8E}" dt="2021-12-20T16:19:53.236" v="220"/>
        <pc:sldMkLst>
          <pc:docMk/>
          <pc:sldMk cId="2847287295" sldId="1397"/>
        </pc:sldMkLst>
        <pc:spChg chg="mod">
          <ac:chgData name="Mullen (ESO), Paul J" userId="bf3d1d73-b4d7-4bb4-8793-c91dcec30622" providerId="ADAL" clId="{A5B10780-F387-4111-A3F9-FB21FF27FC8E}" dt="2021-12-20T16:19:53.236" v="220"/>
          <ac:spMkLst>
            <pc:docMk/>
            <pc:sldMk cId="2847287295" sldId="1397"/>
            <ac:spMk id="4" creationId="{9B005218-02F1-4150-92E7-9D14FA6F26E6}"/>
          </ac:spMkLst>
        </pc:spChg>
      </pc:sldChg>
      <pc:sldChg chg="modSp mod">
        <pc:chgData name="Mullen (ESO), Paul J" userId="bf3d1d73-b4d7-4bb4-8793-c91dcec30622" providerId="ADAL" clId="{A5B10780-F387-4111-A3F9-FB21FF27FC8E}" dt="2021-12-20T16:19:45.025" v="219" actId="20577"/>
        <pc:sldMkLst>
          <pc:docMk/>
          <pc:sldMk cId="3749940395" sldId="1433"/>
        </pc:sldMkLst>
        <pc:spChg chg="mod">
          <ac:chgData name="Mullen (ESO), Paul J" userId="bf3d1d73-b4d7-4bb4-8793-c91dcec30622" providerId="ADAL" clId="{A5B10780-F387-4111-A3F9-FB21FF27FC8E}" dt="2021-12-20T16:19:45.025" v="219" actId="20577"/>
          <ac:spMkLst>
            <pc:docMk/>
            <pc:sldMk cId="3749940395" sldId="1433"/>
            <ac:spMk id="6" creationId="{DF799BDC-F9B1-4F26-8BFB-81EDDBD1FA0C}"/>
          </ac:spMkLst>
        </pc:spChg>
      </pc:sldChg>
      <pc:sldChg chg="modSp mod">
        <pc:chgData name="Mullen (ESO), Paul J" userId="bf3d1d73-b4d7-4bb4-8793-c91dcec30622" providerId="ADAL" clId="{A5B10780-F387-4111-A3F9-FB21FF27FC8E}" dt="2021-12-20T16:20:06.444" v="222"/>
        <pc:sldMkLst>
          <pc:docMk/>
          <pc:sldMk cId="1467341039" sldId="1434"/>
        </pc:sldMkLst>
        <pc:spChg chg="mod">
          <ac:chgData name="Mullen (ESO), Paul J" userId="bf3d1d73-b4d7-4bb4-8793-c91dcec30622" providerId="ADAL" clId="{A5B10780-F387-4111-A3F9-FB21FF27FC8E}" dt="2021-12-20T16:20:06.444" v="222"/>
          <ac:spMkLst>
            <pc:docMk/>
            <pc:sldMk cId="1467341039" sldId="1434"/>
            <ac:spMk id="7" creationId="{EA0665D2-3E02-44E7-BA17-BDE878441CC1}"/>
          </ac:spMkLst>
        </pc:spChg>
      </pc:sldChg>
      <pc:sldChg chg="addSp delSp modSp del mod">
        <pc:chgData name="Mullen (ESO), Paul J" userId="bf3d1d73-b4d7-4bb4-8793-c91dcec30622" providerId="ADAL" clId="{A5B10780-F387-4111-A3F9-FB21FF27FC8E}" dt="2021-12-20T16:26:20.349" v="620" actId="47"/>
        <pc:sldMkLst>
          <pc:docMk/>
          <pc:sldMk cId="1257651181" sldId="1435"/>
        </pc:sldMkLst>
        <pc:spChg chg="del">
          <ac:chgData name="Mullen (ESO), Paul J" userId="bf3d1d73-b4d7-4bb4-8793-c91dcec30622" providerId="ADAL" clId="{A5B10780-F387-4111-A3F9-FB21FF27FC8E}" dt="2021-12-20T16:26:00.219" v="618" actId="478"/>
          <ac:spMkLst>
            <pc:docMk/>
            <pc:sldMk cId="1257651181" sldId="1435"/>
            <ac:spMk id="2" creationId="{5B25B274-6493-4652-B68A-BB8B5770FE4F}"/>
          </ac:spMkLst>
        </pc:spChg>
        <pc:spChg chg="add del mod">
          <ac:chgData name="Mullen (ESO), Paul J" userId="bf3d1d73-b4d7-4bb4-8793-c91dcec30622" providerId="ADAL" clId="{A5B10780-F387-4111-A3F9-FB21FF27FC8E}" dt="2021-12-20T16:25:58.255" v="617" actId="478"/>
          <ac:spMkLst>
            <pc:docMk/>
            <pc:sldMk cId="1257651181" sldId="1435"/>
            <ac:spMk id="4" creationId="{00000000-0000-0000-0000-000000000000}"/>
          </ac:spMkLst>
        </pc:spChg>
        <pc:spChg chg="add del mod">
          <ac:chgData name="Mullen (ESO), Paul J" userId="bf3d1d73-b4d7-4bb4-8793-c91dcec30622" providerId="ADAL" clId="{A5B10780-F387-4111-A3F9-FB21FF27FC8E}" dt="2021-12-20T16:25:58.255" v="617" actId="478"/>
          <ac:spMkLst>
            <pc:docMk/>
            <pc:sldMk cId="1257651181" sldId="1435"/>
            <ac:spMk id="7" creationId="{CAEB412E-3115-4C69-8069-28A5A439A803}"/>
          </ac:spMkLst>
        </pc:spChg>
      </pc:sldChg>
      <pc:sldChg chg="modSp mod">
        <pc:chgData name="Mullen (ESO), Paul J" userId="bf3d1d73-b4d7-4bb4-8793-c91dcec30622" providerId="ADAL" clId="{A5B10780-F387-4111-A3F9-FB21FF27FC8E}" dt="2021-12-20T16:19:59.647" v="221"/>
        <pc:sldMkLst>
          <pc:docMk/>
          <pc:sldMk cId="266562009" sldId="1436"/>
        </pc:sldMkLst>
        <pc:spChg chg="mod">
          <ac:chgData name="Mullen (ESO), Paul J" userId="bf3d1d73-b4d7-4bb4-8793-c91dcec30622" providerId="ADAL" clId="{A5B10780-F387-4111-A3F9-FB21FF27FC8E}" dt="2021-12-20T16:19:59.647" v="221"/>
          <ac:spMkLst>
            <pc:docMk/>
            <pc:sldMk cId="266562009" sldId="1436"/>
            <ac:spMk id="6" creationId="{9EF1DD5D-9EE3-4A13-800E-7B517DD47E99}"/>
          </ac:spMkLst>
        </pc:spChg>
      </pc:sldChg>
      <pc:sldChg chg="modSp mod">
        <pc:chgData name="Mullen (ESO), Paul J" userId="bf3d1d73-b4d7-4bb4-8793-c91dcec30622" providerId="ADAL" clId="{A5B10780-F387-4111-A3F9-FB21FF27FC8E}" dt="2021-12-20T16:19:30.458" v="217" actId="13926"/>
        <pc:sldMkLst>
          <pc:docMk/>
          <pc:sldMk cId="926587455" sldId="1439"/>
        </pc:sldMkLst>
        <pc:spChg chg="mod">
          <ac:chgData name="Mullen (ESO), Paul J" userId="bf3d1d73-b4d7-4bb4-8793-c91dcec30622" providerId="ADAL" clId="{A5B10780-F387-4111-A3F9-FB21FF27FC8E}" dt="2021-12-20T16:19:30.458" v="217" actId="13926"/>
          <ac:spMkLst>
            <pc:docMk/>
            <pc:sldMk cId="926587455" sldId="1439"/>
            <ac:spMk id="6" creationId="{4C3C9828-54A3-4BC1-A438-A846337C2A04}"/>
          </ac:spMkLst>
        </pc:spChg>
      </pc:sldChg>
      <pc:sldChg chg="modSp add mod">
        <pc:chgData name="Mullen (ESO), Paul J" userId="bf3d1d73-b4d7-4bb4-8793-c91dcec30622" providerId="ADAL" clId="{A5B10780-F387-4111-A3F9-FB21FF27FC8E}" dt="2021-12-20T17:19:00.201" v="624" actId="20577"/>
        <pc:sldMkLst>
          <pc:docMk/>
          <pc:sldMk cId="2821494649" sldId="1598"/>
        </pc:sldMkLst>
        <pc:spChg chg="mod">
          <ac:chgData name="Mullen (ESO), Paul J" userId="bf3d1d73-b4d7-4bb4-8793-c91dcec30622" providerId="ADAL" clId="{A5B10780-F387-4111-A3F9-FB21FF27FC8E}" dt="2021-12-20T17:19:00.201" v="624" actId="20577"/>
          <ac:spMkLst>
            <pc:docMk/>
            <pc:sldMk cId="2821494649" sldId="1598"/>
            <ac:spMk id="2" creationId="{5AF45709-3114-417E-A19A-16820203AD65}"/>
          </ac:spMkLst>
        </pc:spChg>
        <pc:spChg chg="mod">
          <ac:chgData name="Mullen (ESO), Paul J" userId="bf3d1d73-b4d7-4bb4-8793-c91dcec30622" providerId="ADAL" clId="{A5B10780-F387-4111-A3F9-FB21FF27FC8E}" dt="2021-12-20T16:26:25.421" v="622" actId="6549"/>
          <ac:spMkLst>
            <pc:docMk/>
            <pc:sldMk cId="2821494649" sldId="1598"/>
            <ac:spMk id="4" creationId="{00000000-0000-0000-0000-000000000000}"/>
          </ac:spMkLst>
        </pc:spChg>
      </pc:sldChg>
      <pc:sldChg chg="modSp add mod">
        <pc:chgData name="Mullen (ESO), Paul J" userId="bf3d1d73-b4d7-4bb4-8793-c91dcec30622" providerId="ADAL" clId="{A5B10780-F387-4111-A3F9-FB21FF27FC8E}" dt="2021-12-20T16:23:29.549" v="604" actId="20577"/>
        <pc:sldMkLst>
          <pc:docMk/>
          <pc:sldMk cId="3957083411" sldId="1599"/>
        </pc:sldMkLst>
        <pc:graphicFrameChg chg="modGraphic">
          <ac:chgData name="Mullen (ESO), Paul J" userId="bf3d1d73-b4d7-4bb4-8793-c91dcec30622" providerId="ADAL" clId="{A5B10780-F387-4111-A3F9-FB21FF27FC8E}" dt="2021-12-20T16:23:29.549" v="604" actId="20577"/>
          <ac:graphicFrameMkLst>
            <pc:docMk/>
            <pc:sldMk cId="3957083411" sldId="1599"/>
            <ac:graphicFrameMk id="5" creationId="{4CB550AD-0E0B-467B-A24E-263CEEC8C372}"/>
          </ac:graphicFrameMkLst>
        </pc:graphicFrameChg>
      </pc:sldChg>
      <pc:sldChg chg="modSp mod">
        <pc:chgData name="Mullen (ESO), Paul J" userId="bf3d1d73-b4d7-4bb4-8793-c91dcec30622" providerId="ADAL" clId="{A5B10780-F387-4111-A3F9-FB21FF27FC8E}" dt="2021-12-20T17:19:59.943" v="648" actId="1076"/>
        <pc:sldMkLst>
          <pc:docMk/>
          <pc:sldMk cId="2227445331" sldId="5944"/>
        </pc:sldMkLst>
        <pc:spChg chg="mod">
          <ac:chgData name="Mullen (ESO), Paul J" userId="bf3d1d73-b4d7-4bb4-8793-c91dcec30622" providerId="ADAL" clId="{A5B10780-F387-4111-A3F9-FB21FF27FC8E}" dt="2021-12-20T17:19:59.943" v="648" actId="1076"/>
          <ac:spMkLst>
            <pc:docMk/>
            <pc:sldMk cId="2227445331" sldId="5944"/>
            <ac:spMk id="2" creationId="{45962E1F-3E2E-4800-B746-C2585194061B}"/>
          </ac:spMkLst>
        </pc:spChg>
      </pc:sldChg>
      <pc:sldChg chg="modSp add del mod">
        <pc:chgData name="Mullen (ESO), Paul J" userId="bf3d1d73-b4d7-4bb4-8793-c91dcec30622" providerId="ADAL" clId="{A5B10780-F387-4111-A3F9-FB21FF27FC8E}" dt="2021-12-20T16:20:17.595" v="223" actId="1076"/>
        <pc:sldMkLst>
          <pc:docMk/>
          <pc:sldMk cId="1509905315" sldId="5945"/>
        </pc:sldMkLst>
        <pc:spChg chg="mod">
          <ac:chgData name="Mullen (ESO), Paul J" userId="bf3d1d73-b4d7-4bb4-8793-c91dcec30622" providerId="ADAL" clId="{A5B10780-F387-4111-A3F9-FB21FF27FC8E}" dt="2021-12-20T16:20:17.595" v="223" actId="1076"/>
          <ac:spMkLst>
            <pc:docMk/>
            <pc:sldMk cId="1509905315" sldId="5945"/>
            <ac:spMk id="2" creationId="{45962E1F-3E2E-4800-B746-C2585194061B}"/>
          </ac:spMkLst>
        </pc:spChg>
        <pc:spChg chg="mod">
          <ac:chgData name="Mullen (ESO), Paul J" userId="bf3d1d73-b4d7-4bb4-8793-c91dcec30622" providerId="ADAL" clId="{A5B10780-F387-4111-A3F9-FB21FF27FC8E}" dt="2021-12-20T16:16:17.032" v="38" actId="20577"/>
          <ac:spMkLst>
            <pc:docMk/>
            <pc:sldMk cId="1509905315" sldId="5945"/>
            <ac:spMk id="3" creationId="{C9BE2949-70F1-4A3B-B3AF-B6A47E266139}"/>
          </ac:spMkLst>
        </pc:spChg>
      </pc:sldChg>
      <pc:sldMasterChg chg="del delSldLayout">
        <pc:chgData name="Mullen (ESO), Paul J" userId="bf3d1d73-b4d7-4bb4-8793-c91dcec30622" providerId="ADAL" clId="{A5B10780-F387-4111-A3F9-FB21FF27FC8E}" dt="2021-12-20T16:25:38.630" v="605" actId="47"/>
        <pc:sldMasterMkLst>
          <pc:docMk/>
          <pc:sldMasterMk cId="111423126" sldId="2147483728"/>
        </pc:sldMasterMkLst>
        <pc:sldLayoutChg chg="del">
          <pc:chgData name="Mullen (ESO), Paul J" userId="bf3d1d73-b4d7-4bb4-8793-c91dcec30622" providerId="ADAL" clId="{A5B10780-F387-4111-A3F9-FB21FF27FC8E}" dt="2021-12-20T16:25:38.630" v="605" actId="47"/>
          <pc:sldLayoutMkLst>
            <pc:docMk/>
            <pc:sldMasterMk cId="111423126" sldId="2147483728"/>
            <pc:sldLayoutMk cId="2059382791" sldId="2147483729"/>
          </pc:sldLayoutMkLst>
        </pc:sldLayoutChg>
        <pc:sldLayoutChg chg="del">
          <pc:chgData name="Mullen (ESO), Paul J" userId="bf3d1d73-b4d7-4bb4-8793-c91dcec30622" providerId="ADAL" clId="{A5B10780-F387-4111-A3F9-FB21FF27FC8E}" dt="2021-12-20T16:25:38.630" v="605" actId="47"/>
          <pc:sldLayoutMkLst>
            <pc:docMk/>
            <pc:sldMasterMk cId="111423126" sldId="2147483728"/>
            <pc:sldLayoutMk cId="1766955595" sldId="2147483730"/>
          </pc:sldLayoutMkLst>
        </pc:sldLayoutChg>
        <pc:sldLayoutChg chg="del">
          <pc:chgData name="Mullen (ESO), Paul J" userId="bf3d1d73-b4d7-4bb4-8793-c91dcec30622" providerId="ADAL" clId="{A5B10780-F387-4111-A3F9-FB21FF27FC8E}" dt="2021-12-20T16:25:38.630" v="605" actId="47"/>
          <pc:sldLayoutMkLst>
            <pc:docMk/>
            <pc:sldMasterMk cId="111423126" sldId="2147483728"/>
            <pc:sldLayoutMk cId="1803080873" sldId="2147483731"/>
          </pc:sldLayoutMkLst>
        </pc:sldLayoutChg>
        <pc:sldLayoutChg chg="del">
          <pc:chgData name="Mullen (ESO), Paul J" userId="bf3d1d73-b4d7-4bb4-8793-c91dcec30622" providerId="ADAL" clId="{A5B10780-F387-4111-A3F9-FB21FF27FC8E}" dt="2021-12-20T16:25:38.630" v="605" actId="47"/>
          <pc:sldLayoutMkLst>
            <pc:docMk/>
            <pc:sldMasterMk cId="111423126" sldId="2147483728"/>
            <pc:sldLayoutMk cId="14335321" sldId="2147483732"/>
          </pc:sldLayoutMkLst>
        </pc:sldLayoutChg>
        <pc:sldLayoutChg chg="del">
          <pc:chgData name="Mullen (ESO), Paul J" userId="bf3d1d73-b4d7-4bb4-8793-c91dcec30622" providerId="ADAL" clId="{A5B10780-F387-4111-A3F9-FB21FF27FC8E}" dt="2021-12-20T16:25:38.630" v="605" actId="47"/>
          <pc:sldLayoutMkLst>
            <pc:docMk/>
            <pc:sldMasterMk cId="111423126" sldId="2147483728"/>
            <pc:sldLayoutMk cId="288956202" sldId="2147483733"/>
          </pc:sldLayoutMkLst>
        </pc:sldLayoutChg>
        <pc:sldLayoutChg chg="del">
          <pc:chgData name="Mullen (ESO), Paul J" userId="bf3d1d73-b4d7-4bb4-8793-c91dcec30622" providerId="ADAL" clId="{A5B10780-F387-4111-A3F9-FB21FF27FC8E}" dt="2021-12-20T16:25:38.630" v="605" actId="47"/>
          <pc:sldLayoutMkLst>
            <pc:docMk/>
            <pc:sldMasterMk cId="111423126" sldId="2147483728"/>
            <pc:sldLayoutMk cId="3509911357" sldId="2147483734"/>
          </pc:sldLayoutMkLst>
        </pc:sldLayoutChg>
        <pc:sldLayoutChg chg="del">
          <pc:chgData name="Mullen (ESO), Paul J" userId="bf3d1d73-b4d7-4bb4-8793-c91dcec30622" providerId="ADAL" clId="{A5B10780-F387-4111-A3F9-FB21FF27FC8E}" dt="2021-12-20T16:25:38.630" v="605" actId="47"/>
          <pc:sldLayoutMkLst>
            <pc:docMk/>
            <pc:sldMasterMk cId="111423126" sldId="2147483728"/>
            <pc:sldLayoutMk cId="204426613" sldId="2147483735"/>
          </pc:sldLayoutMkLst>
        </pc:sldLayoutChg>
        <pc:sldLayoutChg chg="del">
          <pc:chgData name="Mullen (ESO), Paul J" userId="bf3d1d73-b4d7-4bb4-8793-c91dcec30622" providerId="ADAL" clId="{A5B10780-F387-4111-A3F9-FB21FF27FC8E}" dt="2021-12-20T16:25:38.630" v="605" actId="47"/>
          <pc:sldLayoutMkLst>
            <pc:docMk/>
            <pc:sldMasterMk cId="111423126" sldId="2147483728"/>
            <pc:sldLayoutMk cId="2525107896" sldId="2147483736"/>
          </pc:sldLayoutMkLst>
        </pc:sldLayoutChg>
        <pc:sldLayoutChg chg="del">
          <pc:chgData name="Mullen (ESO), Paul J" userId="bf3d1d73-b4d7-4bb4-8793-c91dcec30622" providerId="ADAL" clId="{A5B10780-F387-4111-A3F9-FB21FF27FC8E}" dt="2021-12-20T16:25:38.630" v="605" actId="47"/>
          <pc:sldLayoutMkLst>
            <pc:docMk/>
            <pc:sldMasterMk cId="111423126" sldId="2147483728"/>
            <pc:sldLayoutMk cId="119396547" sldId="2147483737"/>
          </pc:sldLayoutMkLst>
        </pc:sldLayoutChg>
        <pc:sldLayoutChg chg="del">
          <pc:chgData name="Mullen (ESO), Paul J" userId="bf3d1d73-b4d7-4bb4-8793-c91dcec30622" providerId="ADAL" clId="{A5B10780-F387-4111-A3F9-FB21FF27FC8E}" dt="2021-12-20T16:25:38.630" v="605" actId="47"/>
          <pc:sldLayoutMkLst>
            <pc:docMk/>
            <pc:sldMasterMk cId="111423126" sldId="2147483728"/>
            <pc:sldLayoutMk cId="1713594886" sldId="2147483738"/>
          </pc:sldLayoutMkLst>
        </pc:sldLayoutChg>
        <pc:sldLayoutChg chg="del">
          <pc:chgData name="Mullen (ESO), Paul J" userId="bf3d1d73-b4d7-4bb4-8793-c91dcec30622" providerId="ADAL" clId="{A5B10780-F387-4111-A3F9-FB21FF27FC8E}" dt="2021-12-20T16:25:38.630" v="605" actId="47"/>
          <pc:sldLayoutMkLst>
            <pc:docMk/>
            <pc:sldMasterMk cId="111423126" sldId="2147483728"/>
            <pc:sldLayoutMk cId="1129856097" sldId="2147483739"/>
          </pc:sldLayoutMkLst>
        </pc:sldLayoutChg>
        <pc:sldLayoutChg chg="del">
          <pc:chgData name="Mullen (ESO), Paul J" userId="bf3d1d73-b4d7-4bb4-8793-c91dcec30622" providerId="ADAL" clId="{A5B10780-F387-4111-A3F9-FB21FF27FC8E}" dt="2021-12-20T16:25:38.630" v="605" actId="47"/>
          <pc:sldLayoutMkLst>
            <pc:docMk/>
            <pc:sldMasterMk cId="111423126" sldId="2147483728"/>
            <pc:sldLayoutMk cId="2231638400" sldId="2147483740"/>
          </pc:sldLayoutMkLst>
        </pc:sldLayoutChg>
        <pc:sldLayoutChg chg="del">
          <pc:chgData name="Mullen (ESO), Paul J" userId="bf3d1d73-b4d7-4bb4-8793-c91dcec30622" providerId="ADAL" clId="{A5B10780-F387-4111-A3F9-FB21FF27FC8E}" dt="2021-12-20T16:25:38.630" v="605" actId="47"/>
          <pc:sldLayoutMkLst>
            <pc:docMk/>
            <pc:sldMasterMk cId="111423126" sldId="2147483728"/>
            <pc:sldLayoutMk cId="3379646452" sldId="2147483741"/>
          </pc:sldLayoutMkLst>
        </pc:sldLayoutChg>
        <pc:sldLayoutChg chg="del">
          <pc:chgData name="Mullen (ESO), Paul J" userId="bf3d1d73-b4d7-4bb4-8793-c91dcec30622" providerId="ADAL" clId="{A5B10780-F387-4111-A3F9-FB21FF27FC8E}" dt="2021-12-20T16:25:38.630" v="605" actId="47"/>
          <pc:sldLayoutMkLst>
            <pc:docMk/>
            <pc:sldMasterMk cId="111423126" sldId="2147483728"/>
            <pc:sldLayoutMk cId="388971504" sldId="2147483742"/>
          </pc:sldLayoutMkLst>
        </pc:sldLayoutChg>
        <pc:sldLayoutChg chg="del">
          <pc:chgData name="Mullen (ESO), Paul J" userId="bf3d1d73-b4d7-4bb4-8793-c91dcec30622" providerId="ADAL" clId="{A5B10780-F387-4111-A3F9-FB21FF27FC8E}" dt="2021-12-20T16:25:38.630" v="605" actId="47"/>
          <pc:sldLayoutMkLst>
            <pc:docMk/>
            <pc:sldMasterMk cId="111423126" sldId="2147483728"/>
            <pc:sldLayoutMk cId="4077142784" sldId="2147483743"/>
          </pc:sldLayoutMkLst>
        </pc:sldLayoutChg>
        <pc:sldLayoutChg chg="del">
          <pc:chgData name="Mullen (ESO), Paul J" userId="bf3d1d73-b4d7-4bb4-8793-c91dcec30622" providerId="ADAL" clId="{A5B10780-F387-4111-A3F9-FB21FF27FC8E}" dt="2021-12-20T16:25:38.630" v="605" actId="47"/>
          <pc:sldLayoutMkLst>
            <pc:docMk/>
            <pc:sldMasterMk cId="111423126" sldId="2147483728"/>
            <pc:sldLayoutMk cId="1509430169" sldId="2147483744"/>
          </pc:sldLayoutMkLst>
        </pc:sldLayoutChg>
      </pc:sldMasterChg>
      <pc:sldMasterChg chg="add del addSldLayout delSldLayout">
        <pc:chgData name="Mullen (ESO), Paul J" userId="bf3d1d73-b4d7-4bb4-8793-c91dcec30622" providerId="ADAL" clId="{A5B10780-F387-4111-A3F9-FB21FF27FC8E}" dt="2021-12-20T16:18:04.609" v="87" actId="2696"/>
        <pc:sldMasterMkLst>
          <pc:docMk/>
          <pc:sldMasterMk cId="433992930" sldId="2147483773"/>
        </pc:sldMasterMkLst>
        <pc:sldLayoutChg chg="add del">
          <pc:chgData name="Mullen (ESO), Paul J" userId="bf3d1d73-b4d7-4bb4-8793-c91dcec30622" providerId="ADAL" clId="{A5B10780-F387-4111-A3F9-FB21FF27FC8E}" dt="2021-12-20T16:18:04.609" v="87" actId="2696"/>
          <pc:sldLayoutMkLst>
            <pc:docMk/>
            <pc:sldMasterMk cId="433992930" sldId="2147483773"/>
            <pc:sldLayoutMk cId="141936108" sldId="2147483774"/>
          </pc:sldLayoutMkLst>
        </pc:sldLayoutChg>
        <pc:sldLayoutChg chg="add del">
          <pc:chgData name="Mullen (ESO), Paul J" userId="bf3d1d73-b4d7-4bb4-8793-c91dcec30622" providerId="ADAL" clId="{A5B10780-F387-4111-A3F9-FB21FF27FC8E}" dt="2021-12-20T16:18:04.609" v="87" actId="2696"/>
          <pc:sldLayoutMkLst>
            <pc:docMk/>
            <pc:sldMasterMk cId="433992930" sldId="2147483773"/>
            <pc:sldLayoutMk cId="753037372" sldId="2147483775"/>
          </pc:sldLayoutMkLst>
        </pc:sldLayoutChg>
        <pc:sldLayoutChg chg="add del">
          <pc:chgData name="Mullen (ESO), Paul J" userId="bf3d1d73-b4d7-4bb4-8793-c91dcec30622" providerId="ADAL" clId="{A5B10780-F387-4111-A3F9-FB21FF27FC8E}" dt="2021-12-20T16:18:04.609" v="87" actId="2696"/>
          <pc:sldLayoutMkLst>
            <pc:docMk/>
            <pc:sldMasterMk cId="433992930" sldId="2147483773"/>
            <pc:sldLayoutMk cId="2253094452" sldId="2147483776"/>
          </pc:sldLayoutMkLst>
        </pc:sldLayoutChg>
        <pc:sldLayoutChg chg="add del">
          <pc:chgData name="Mullen (ESO), Paul J" userId="bf3d1d73-b4d7-4bb4-8793-c91dcec30622" providerId="ADAL" clId="{A5B10780-F387-4111-A3F9-FB21FF27FC8E}" dt="2021-12-20T16:18:04.609" v="87" actId="2696"/>
          <pc:sldLayoutMkLst>
            <pc:docMk/>
            <pc:sldMasterMk cId="433992930" sldId="2147483773"/>
            <pc:sldLayoutMk cId="2827049351" sldId="2147483777"/>
          </pc:sldLayoutMkLst>
        </pc:sldLayoutChg>
        <pc:sldLayoutChg chg="add del">
          <pc:chgData name="Mullen (ESO), Paul J" userId="bf3d1d73-b4d7-4bb4-8793-c91dcec30622" providerId="ADAL" clId="{A5B10780-F387-4111-A3F9-FB21FF27FC8E}" dt="2021-12-20T16:18:04.609" v="87" actId="2696"/>
          <pc:sldLayoutMkLst>
            <pc:docMk/>
            <pc:sldMasterMk cId="433992930" sldId="2147483773"/>
            <pc:sldLayoutMk cId="3213241608" sldId="2147483778"/>
          </pc:sldLayoutMkLst>
        </pc:sldLayoutChg>
        <pc:sldLayoutChg chg="add del">
          <pc:chgData name="Mullen (ESO), Paul J" userId="bf3d1d73-b4d7-4bb4-8793-c91dcec30622" providerId="ADAL" clId="{A5B10780-F387-4111-A3F9-FB21FF27FC8E}" dt="2021-12-20T16:18:04.609" v="87" actId="2696"/>
          <pc:sldLayoutMkLst>
            <pc:docMk/>
            <pc:sldMasterMk cId="433992930" sldId="2147483773"/>
            <pc:sldLayoutMk cId="2651787962" sldId="2147483779"/>
          </pc:sldLayoutMkLst>
        </pc:sldLayoutChg>
        <pc:sldLayoutChg chg="add del">
          <pc:chgData name="Mullen (ESO), Paul J" userId="bf3d1d73-b4d7-4bb4-8793-c91dcec30622" providerId="ADAL" clId="{A5B10780-F387-4111-A3F9-FB21FF27FC8E}" dt="2021-12-20T16:18:04.609" v="87" actId="2696"/>
          <pc:sldLayoutMkLst>
            <pc:docMk/>
            <pc:sldMasterMk cId="433992930" sldId="2147483773"/>
            <pc:sldLayoutMk cId="2756035257" sldId="2147483780"/>
          </pc:sldLayoutMkLst>
        </pc:sldLayoutChg>
        <pc:sldLayoutChg chg="add del">
          <pc:chgData name="Mullen (ESO), Paul J" userId="bf3d1d73-b4d7-4bb4-8793-c91dcec30622" providerId="ADAL" clId="{A5B10780-F387-4111-A3F9-FB21FF27FC8E}" dt="2021-12-20T16:18:04.609" v="87" actId="2696"/>
          <pc:sldLayoutMkLst>
            <pc:docMk/>
            <pc:sldMasterMk cId="433992930" sldId="2147483773"/>
            <pc:sldLayoutMk cId="625709974" sldId="2147483781"/>
          </pc:sldLayoutMkLst>
        </pc:sldLayoutChg>
        <pc:sldLayoutChg chg="add del">
          <pc:chgData name="Mullen (ESO), Paul J" userId="bf3d1d73-b4d7-4bb4-8793-c91dcec30622" providerId="ADAL" clId="{A5B10780-F387-4111-A3F9-FB21FF27FC8E}" dt="2021-12-20T16:18:04.609" v="87" actId="2696"/>
          <pc:sldLayoutMkLst>
            <pc:docMk/>
            <pc:sldMasterMk cId="433992930" sldId="2147483773"/>
            <pc:sldLayoutMk cId="4161760023" sldId="2147483782"/>
          </pc:sldLayoutMkLst>
        </pc:sldLayoutChg>
        <pc:sldLayoutChg chg="add del">
          <pc:chgData name="Mullen (ESO), Paul J" userId="bf3d1d73-b4d7-4bb4-8793-c91dcec30622" providerId="ADAL" clId="{A5B10780-F387-4111-A3F9-FB21FF27FC8E}" dt="2021-12-20T16:18:04.609" v="87" actId="2696"/>
          <pc:sldLayoutMkLst>
            <pc:docMk/>
            <pc:sldMasterMk cId="433992930" sldId="2147483773"/>
            <pc:sldLayoutMk cId="2129862942" sldId="2147483783"/>
          </pc:sldLayoutMkLst>
        </pc:sldLayoutChg>
      </pc:sldMasterChg>
    </pc:docChg>
  </pc:docChgLst>
  <pc:docChgLst>
    <pc:chgData name="Mullen (ESO), Paul J" userId="bf3d1d73-b4d7-4bb4-8793-c91dcec30622" providerId="ADAL" clId="{12DC8BED-B749-4D02-AC16-B77CC44566A7}"/>
    <pc:docChg chg="undo custSel addSld modSld">
      <pc:chgData name="Mullen (ESO), Paul J" userId="bf3d1d73-b4d7-4bb4-8793-c91dcec30622" providerId="ADAL" clId="{12DC8BED-B749-4D02-AC16-B77CC44566A7}" dt="2021-08-26T20:12:12.501" v="376" actId="20577"/>
      <pc:docMkLst>
        <pc:docMk/>
      </pc:docMkLst>
      <pc:sldChg chg="modSp">
        <pc:chgData name="Mullen (ESO), Paul J" userId="bf3d1d73-b4d7-4bb4-8793-c91dcec30622" providerId="ADAL" clId="{12DC8BED-B749-4D02-AC16-B77CC44566A7}" dt="2021-08-26T16:22:48.163" v="22" actId="20577"/>
        <pc:sldMkLst>
          <pc:docMk/>
          <pc:sldMk cId="4166818921" sldId="259"/>
        </pc:sldMkLst>
        <pc:spChg chg="mod">
          <ac:chgData name="Mullen (ESO), Paul J" userId="bf3d1d73-b4d7-4bb4-8793-c91dcec30622" providerId="ADAL" clId="{12DC8BED-B749-4D02-AC16-B77CC44566A7}" dt="2021-08-26T16:22:48.163" v="22" actId="20577"/>
          <ac:spMkLst>
            <pc:docMk/>
            <pc:sldMk cId="4166818921" sldId="259"/>
            <ac:spMk id="5" creationId="{4FBA6ABF-CE97-446E-AFED-BDC24A2E4D0F}"/>
          </ac:spMkLst>
        </pc:spChg>
      </pc:sldChg>
      <pc:sldChg chg="modSp">
        <pc:chgData name="Mullen (ESO), Paul J" userId="bf3d1d73-b4d7-4bb4-8793-c91dcec30622" providerId="ADAL" clId="{12DC8BED-B749-4D02-AC16-B77CC44566A7}" dt="2021-08-26T20:12:12.501" v="376" actId="20577"/>
        <pc:sldMkLst>
          <pc:docMk/>
          <pc:sldMk cId="2331349124" sldId="1398"/>
        </pc:sldMkLst>
        <pc:graphicFrameChg chg="mod">
          <ac:chgData name="Mullen (ESO), Paul J" userId="bf3d1d73-b4d7-4bb4-8793-c91dcec30622" providerId="ADAL" clId="{12DC8BED-B749-4D02-AC16-B77CC44566A7}" dt="2021-08-26T20:12:12.501" v="376" actId="20577"/>
          <ac:graphicFrameMkLst>
            <pc:docMk/>
            <pc:sldMk cId="2331349124" sldId="1398"/>
            <ac:graphicFrameMk id="5" creationId="{69CCDA93-5F31-4AD0-ACB1-0F5F6AFEA016}"/>
          </ac:graphicFrameMkLst>
        </pc:graphicFrameChg>
      </pc:sldChg>
      <pc:sldChg chg="modSp add">
        <pc:chgData name="Mullen (ESO), Paul J" userId="bf3d1d73-b4d7-4bb4-8793-c91dcec30622" providerId="ADAL" clId="{12DC8BED-B749-4D02-AC16-B77CC44566A7}" dt="2021-08-26T16:23:19.577" v="41" actId="20577"/>
        <pc:sldMkLst>
          <pc:docMk/>
          <pc:sldMk cId="1467341039" sldId="1434"/>
        </pc:sldMkLst>
        <pc:spChg chg="mod">
          <ac:chgData name="Mullen (ESO), Paul J" userId="bf3d1d73-b4d7-4bb4-8793-c91dcec30622" providerId="ADAL" clId="{12DC8BED-B749-4D02-AC16-B77CC44566A7}" dt="2021-08-26T16:23:19.577" v="41" actId="20577"/>
          <ac:spMkLst>
            <pc:docMk/>
            <pc:sldMk cId="1467341039" sldId="1434"/>
            <ac:spMk id="3" creationId="{C9BE2949-70F1-4A3B-B3AF-B6A47E266139}"/>
          </ac:spMkLst>
        </pc:spChg>
      </pc:sldChg>
      <pc:sldChg chg="addSp delSp modSp add">
        <pc:chgData name="Mullen (ESO), Paul J" userId="bf3d1d73-b4d7-4bb4-8793-c91dcec30622" providerId="ADAL" clId="{12DC8BED-B749-4D02-AC16-B77CC44566A7}" dt="2021-08-26T16:55:12.578" v="373" actId="255"/>
        <pc:sldMkLst>
          <pc:docMk/>
          <pc:sldMk cId="1257651181" sldId="1435"/>
        </pc:sldMkLst>
        <pc:spChg chg="mod">
          <ac:chgData name="Mullen (ESO), Paul J" userId="bf3d1d73-b4d7-4bb4-8793-c91dcec30622" providerId="ADAL" clId="{12DC8BED-B749-4D02-AC16-B77CC44566A7}" dt="2021-08-26T16:23:39.518" v="71" actId="20577"/>
          <ac:spMkLst>
            <pc:docMk/>
            <pc:sldMk cId="1257651181" sldId="1435"/>
            <ac:spMk id="4" creationId="{00000000-0000-0000-0000-000000000000}"/>
          </ac:spMkLst>
        </pc:spChg>
        <pc:grpChg chg="del">
          <ac:chgData name="Mullen (ESO), Paul J" userId="bf3d1d73-b4d7-4bb4-8793-c91dcec30622" providerId="ADAL" clId="{12DC8BED-B749-4D02-AC16-B77CC44566A7}" dt="2021-08-26T16:23:32.215" v="45" actId="478"/>
          <ac:grpSpMkLst>
            <pc:docMk/>
            <pc:sldMk cId="1257651181" sldId="1435"/>
            <ac:grpSpMk id="7" creationId="{FD4F61AE-17F8-4E3A-91FE-A0DF88250829}"/>
          </ac:grpSpMkLst>
        </pc:grpChg>
        <pc:graphicFrameChg chg="add mod modGraphic">
          <ac:chgData name="Mullen (ESO), Paul J" userId="bf3d1d73-b4d7-4bb4-8793-c91dcec30622" providerId="ADAL" clId="{12DC8BED-B749-4D02-AC16-B77CC44566A7}" dt="2021-08-26T16:55:12.578" v="373" actId="255"/>
          <ac:graphicFrameMkLst>
            <pc:docMk/>
            <pc:sldMk cId="1257651181" sldId="1435"/>
            <ac:graphicFrameMk id="2" creationId="{6C9A9552-A353-41AF-8A43-41ECF23B5BAE}"/>
          </ac:graphicFrameMkLst>
        </pc:graphicFrameChg>
        <pc:graphicFrameChg chg="mod">
          <ac:chgData name="Mullen (ESO), Paul J" userId="bf3d1d73-b4d7-4bb4-8793-c91dcec30622" providerId="ADAL" clId="{12DC8BED-B749-4D02-AC16-B77CC44566A7}" dt="2021-08-26T16:23:30.356" v="44" actId="478"/>
          <ac:graphicFrameMkLst>
            <pc:docMk/>
            <pc:sldMk cId="1257651181" sldId="1435"/>
            <ac:graphicFrameMk id="5" creationId="{69CCDA93-5F31-4AD0-ACB1-0F5F6AFEA016}"/>
          </ac:graphicFrameMkLst>
        </pc:graphicFrameChg>
      </pc:sldChg>
    </pc:docChg>
  </pc:docChgLst>
  <pc:docChgLst>
    <pc:chgData name="Akhtar (ESO), Shazia" userId="bde2a00d-0eb8-4377-8745-3ecad4b938e1" providerId="ADAL" clId="{C6D4DDCD-9245-4CE1-9877-AEEC26420F86}"/>
    <pc:docChg chg="addSld modSld">
      <pc:chgData name="Akhtar (ESO), Shazia" userId="bde2a00d-0eb8-4377-8745-3ecad4b938e1" providerId="ADAL" clId="{C6D4DDCD-9245-4CE1-9877-AEEC26420F86}" dt="2021-10-28T07:23:28.921" v="0"/>
      <pc:docMkLst>
        <pc:docMk/>
      </pc:docMkLst>
      <pc:sldChg chg="add">
        <pc:chgData name="Akhtar (ESO), Shazia" userId="bde2a00d-0eb8-4377-8745-3ecad4b938e1" providerId="ADAL" clId="{C6D4DDCD-9245-4CE1-9877-AEEC26420F86}" dt="2021-10-28T07:23:28.921" v="0"/>
        <pc:sldMkLst>
          <pc:docMk/>
          <pc:sldMk cId="1803524852" sldId="277"/>
        </pc:sldMkLst>
      </pc:sldChg>
      <pc:sldChg chg="add">
        <pc:chgData name="Akhtar (ESO), Shazia" userId="bde2a00d-0eb8-4377-8745-3ecad4b938e1" providerId="ADAL" clId="{C6D4DDCD-9245-4CE1-9877-AEEC26420F86}" dt="2021-10-28T07:23:28.921" v="0"/>
        <pc:sldMkLst>
          <pc:docMk/>
          <pc:sldMk cId="3437897597" sldId="5943"/>
        </pc:sldMkLst>
      </pc:sldChg>
      <pc:sldChg chg="add">
        <pc:chgData name="Akhtar (ESO), Shazia" userId="bde2a00d-0eb8-4377-8745-3ecad4b938e1" providerId="ADAL" clId="{C6D4DDCD-9245-4CE1-9877-AEEC26420F86}" dt="2021-10-28T07:23:28.921" v="0"/>
        <pc:sldMkLst>
          <pc:docMk/>
          <pc:sldMk cId="2981969233" sldId="5946"/>
        </pc:sldMkLst>
      </pc:sldChg>
      <pc:sldChg chg="add">
        <pc:chgData name="Akhtar (ESO), Shazia" userId="bde2a00d-0eb8-4377-8745-3ecad4b938e1" providerId="ADAL" clId="{C6D4DDCD-9245-4CE1-9877-AEEC26420F86}" dt="2021-10-28T07:23:28.921" v="0"/>
        <pc:sldMkLst>
          <pc:docMk/>
          <pc:sldMk cId="834934378" sldId="5965"/>
        </pc:sldMkLst>
      </pc:sldChg>
      <pc:sldChg chg="add">
        <pc:chgData name="Akhtar (ESO), Shazia" userId="bde2a00d-0eb8-4377-8745-3ecad4b938e1" providerId="ADAL" clId="{C6D4DDCD-9245-4CE1-9877-AEEC26420F86}" dt="2021-10-28T07:23:28.921" v="0"/>
        <pc:sldMkLst>
          <pc:docMk/>
          <pc:sldMk cId="4002503111" sldId="5966"/>
        </pc:sldMkLst>
      </pc:sldChg>
      <pc:sldChg chg="add">
        <pc:chgData name="Akhtar (ESO), Shazia" userId="bde2a00d-0eb8-4377-8745-3ecad4b938e1" providerId="ADAL" clId="{C6D4DDCD-9245-4CE1-9877-AEEC26420F86}" dt="2021-10-28T07:23:28.921" v="0"/>
        <pc:sldMkLst>
          <pc:docMk/>
          <pc:sldMk cId="4154619028" sldId="5967"/>
        </pc:sldMkLst>
      </pc:sldChg>
      <pc:sldChg chg="add">
        <pc:chgData name="Akhtar (ESO), Shazia" userId="bde2a00d-0eb8-4377-8745-3ecad4b938e1" providerId="ADAL" clId="{C6D4DDCD-9245-4CE1-9877-AEEC26420F86}" dt="2021-10-28T07:23:28.921" v="0"/>
        <pc:sldMkLst>
          <pc:docMk/>
          <pc:sldMk cId="2587153484" sldId="5968"/>
        </pc:sldMkLst>
      </pc:sldChg>
      <pc:sldChg chg="add">
        <pc:chgData name="Akhtar (ESO), Shazia" userId="bde2a00d-0eb8-4377-8745-3ecad4b938e1" providerId="ADAL" clId="{C6D4DDCD-9245-4CE1-9877-AEEC26420F86}" dt="2021-10-28T07:23:28.921" v="0"/>
        <pc:sldMkLst>
          <pc:docMk/>
          <pc:sldMk cId="3359820781" sldId="5970"/>
        </pc:sldMkLst>
      </pc:sldChg>
      <pc:sldChg chg="add">
        <pc:chgData name="Akhtar (ESO), Shazia" userId="bde2a00d-0eb8-4377-8745-3ecad4b938e1" providerId="ADAL" clId="{C6D4DDCD-9245-4CE1-9877-AEEC26420F86}" dt="2021-10-28T07:23:28.921" v="0"/>
        <pc:sldMkLst>
          <pc:docMk/>
          <pc:sldMk cId="378423834" sldId="5971"/>
        </pc:sldMkLst>
      </pc:sldChg>
      <pc:sldChg chg="add">
        <pc:chgData name="Akhtar (ESO), Shazia" userId="bde2a00d-0eb8-4377-8745-3ecad4b938e1" providerId="ADAL" clId="{C6D4DDCD-9245-4CE1-9877-AEEC26420F86}" dt="2021-10-28T07:23:28.921" v="0"/>
        <pc:sldMkLst>
          <pc:docMk/>
          <pc:sldMk cId="2413491371" sldId="5972"/>
        </pc:sldMkLst>
      </pc:sldChg>
      <pc:sldChg chg="add">
        <pc:chgData name="Akhtar (ESO), Shazia" userId="bde2a00d-0eb8-4377-8745-3ecad4b938e1" providerId="ADAL" clId="{C6D4DDCD-9245-4CE1-9877-AEEC26420F86}" dt="2021-10-28T07:23:28.921" v="0"/>
        <pc:sldMkLst>
          <pc:docMk/>
          <pc:sldMk cId="3721304097" sldId="5973"/>
        </pc:sldMkLst>
      </pc:sldChg>
      <pc:sldChg chg="add">
        <pc:chgData name="Akhtar (ESO), Shazia" userId="bde2a00d-0eb8-4377-8745-3ecad4b938e1" providerId="ADAL" clId="{C6D4DDCD-9245-4CE1-9877-AEEC26420F86}" dt="2021-10-28T07:23:28.921" v="0"/>
        <pc:sldMkLst>
          <pc:docMk/>
          <pc:sldMk cId="2641996136" sldId="5974"/>
        </pc:sldMkLst>
      </pc:sldChg>
      <pc:sldChg chg="add">
        <pc:chgData name="Akhtar (ESO), Shazia" userId="bde2a00d-0eb8-4377-8745-3ecad4b938e1" providerId="ADAL" clId="{C6D4DDCD-9245-4CE1-9877-AEEC26420F86}" dt="2021-10-28T07:23:28.921" v="0"/>
        <pc:sldMkLst>
          <pc:docMk/>
          <pc:sldMk cId="1388376587" sldId="5975"/>
        </pc:sldMkLst>
      </pc:sldChg>
      <pc:sldChg chg="add">
        <pc:chgData name="Akhtar (ESO), Shazia" userId="bde2a00d-0eb8-4377-8745-3ecad4b938e1" providerId="ADAL" clId="{C6D4DDCD-9245-4CE1-9877-AEEC26420F86}" dt="2021-10-28T07:23:28.921" v="0"/>
        <pc:sldMkLst>
          <pc:docMk/>
          <pc:sldMk cId="1514878141" sldId="5976"/>
        </pc:sldMkLst>
      </pc:sldChg>
      <pc:sldChg chg="add">
        <pc:chgData name="Akhtar (ESO), Shazia" userId="bde2a00d-0eb8-4377-8745-3ecad4b938e1" providerId="ADAL" clId="{C6D4DDCD-9245-4CE1-9877-AEEC26420F86}" dt="2021-10-28T07:23:28.921" v="0"/>
        <pc:sldMkLst>
          <pc:docMk/>
          <pc:sldMk cId="1334503746" sldId="5977"/>
        </pc:sldMkLst>
      </pc:sldChg>
      <pc:sldChg chg="add">
        <pc:chgData name="Akhtar (ESO), Shazia" userId="bde2a00d-0eb8-4377-8745-3ecad4b938e1" providerId="ADAL" clId="{C6D4DDCD-9245-4CE1-9877-AEEC26420F86}" dt="2021-10-28T07:23:28.921" v="0"/>
        <pc:sldMkLst>
          <pc:docMk/>
          <pc:sldMk cId="2441243760" sldId="5978"/>
        </pc:sldMkLst>
      </pc:sldChg>
      <pc:sldChg chg="add">
        <pc:chgData name="Akhtar (ESO), Shazia" userId="bde2a00d-0eb8-4377-8745-3ecad4b938e1" providerId="ADAL" clId="{C6D4DDCD-9245-4CE1-9877-AEEC26420F86}" dt="2021-10-28T07:23:28.921" v="0"/>
        <pc:sldMkLst>
          <pc:docMk/>
          <pc:sldMk cId="1237449129" sldId="5979"/>
        </pc:sldMkLst>
      </pc:sldChg>
      <pc:sldChg chg="add">
        <pc:chgData name="Akhtar (ESO), Shazia" userId="bde2a00d-0eb8-4377-8745-3ecad4b938e1" providerId="ADAL" clId="{C6D4DDCD-9245-4CE1-9877-AEEC26420F86}" dt="2021-10-28T07:23:28.921" v="0"/>
        <pc:sldMkLst>
          <pc:docMk/>
          <pc:sldMk cId="3615477132" sldId="5980"/>
        </pc:sldMkLst>
      </pc:sldChg>
    </pc:docChg>
  </pc:docChgLst>
  <pc:docChgLst>
    <pc:chgData name="Mullen (ESO), Paul J" userId="bf3d1d73-b4d7-4bb4-8793-c91dcec30622" providerId="ADAL" clId="{DED05985-4EC9-4D70-8F16-79987A3CF6E6}"/>
    <pc:docChg chg="undo modSld">
      <pc:chgData name="Mullen (ESO), Paul J" userId="bf3d1d73-b4d7-4bb4-8793-c91dcec30622" providerId="ADAL" clId="{DED05985-4EC9-4D70-8F16-79987A3CF6E6}" dt="2021-07-05T08:32:13.470" v="9" actId="14100"/>
      <pc:docMkLst>
        <pc:docMk/>
      </pc:docMkLst>
    </pc:docChg>
  </pc:docChgLst>
  <pc:docChgLst>
    <pc:chgData name="Mullen (ESO), Paul J" userId="bf3d1d73-b4d7-4bb4-8793-c91dcec30622" providerId="ADAL" clId="{D2DF0951-D381-46A5-95AA-836038B31CC0}"/>
    <pc:docChg chg="custSel addSld delSld modSld delMainMaster">
      <pc:chgData name="Mullen (ESO), Paul J" userId="bf3d1d73-b4d7-4bb4-8793-c91dcec30622" providerId="ADAL" clId="{D2DF0951-D381-46A5-95AA-836038B31CC0}" dt="2021-10-15T09:41:56.788" v="404" actId="6549"/>
      <pc:docMkLst>
        <pc:docMk/>
      </pc:docMkLst>
      <pc:sldChg chg="modSp mod">
        <pc:chgData name="Mullen (ESO), Paul J" userId="bf3d1d73-b4d7-4bb4-8793-c91dcec30622" providerId="ADAL" clId="{D2DF0951-D381-46A5-95AA-836038B31CC0}" dt="2021-10-15T08:46:26.425" v="38" actId="6549"/>
        <pc:sldMkLst>
          <pc:docMk/>
          <pc:sldMk cId="4166818921" sldId="259"/>
        </pc:sldMkLst>
        <pc:spChg chg="mod">
          <ac:chgData name="Mullen (ESO), Paul J" userId="bf3d1d73-b4d7-4bb4-8793-c91dcec30622" providerId="ADAL" clId="{D2DF0951-D381-46A5-95AA-836038B31CC0}" dt="2021-10-15T08:46:16.909" v="7" actId="20577"/>
          <ac:spMkLst>
            <pc:docMk/>
            <pc:sldMk cId="4166818921" sldId="259"/>
            <ac:spMk id="4" creationId="{239D8572-4B80-43C0-A793-A677B76538B7}"/>
          </ac:spMkLst>
        </pc:spChg>
        <pc:spChg chg="mod">
          <ac:chgData name="Mullen (ESO), Paul J" userId="bf3d1d73-b4d7-4bb4-8793-c91dcec30622" providerId="ADAL" clId="{D2DF0951-D381-46A5-95AA-836038B31CC0}" dt="2021-10-15T08:46:26.425" v="38" actId="6549"/>
          <ac:spMkLst>
            <pc:docMk/>
            <pc:sldMk cId="4166818921" sldId="259"/>
            <ac:spMk id="5" creationId="{4FBA6ABF-CE97-446E-AFED-BDC24A2E4D0F}"/>
          </ac:spMkLst>
        </pc:spChg>
      </pc:sldChg>
      <pc:sldChg chg="modSp add mod">
        <pc:chgData name="Mullen (ESO), Paul J" userId="bf3d1d73-b4d7-4bb4-8793-c91dcec30622" providerId="ADAL" clId="{D2DF0951-D381-46A5-95AA-836038B31CC0}" dt="2021-10-15T08:47:28.175" v="42" actId="14100"/>
        <pc:sldMkLst>
          <pc:docMk/>
          <pc:sldMk cId="1677954264" sldId="1126"/>
        </pc:sldMkLst>
        <pc:graphicFrameChg chg="mod modGraphic">
          <ac:chgData name="Mullen (ESO), Paul J" userId="bf3d1d73-b4d7-4bb4-8793-c91dcec30622" providerId="ADAL" clId="{D2DF0951-D381-46A5-95AA-836038B31CC0}" dt="2021-10-15T08:47:28.175" v="42" actId="14100"/>
          <ac:graphicFrameMkLst>
            <pc:docMk/>
            <pc:sldMk cId="1677954264" sldId="1126"/>
            <ac:graphicFrameMk id="7" creationId="{7BE44EE5-25E9-49FA-BAC5-ED9CA495B1DD}"/>
          </ac:graphicFrameMkLst>
        </pc:graphicFrameChg>
      </pc:sldChg>
      <pc:sldChg chg="del">
        <pc:chgData name="Mullen (ESO), Paul J" userId="bf3d1d73-b4d7-4bb4-8793-c91dcec30622" providerId="ADAL" clId="{D2DF0951-D381-46A5-95AA-836038B31CC0}" dt="2021-10-15T08:46:32.473" v="39" actId="47"/>
        <pc:sldMkLst>
          <pc:docMk/>
          <pc:sldMk cId="2766278208" sldId="1128"/>
        </pc:sldMkLst>
      </pc:sldChg>
      <pc:sldChg chg="modSp mod">
        <pc:chgData name="Mullen (ESO), Paul J" userId="bf3d1d73-b4d7-4bb4-8793-c91dcec30622" providerId="ADAL" clId="{D2DF0951-D381-46A5-95AA-836038B31CC0}" dt="2021-10-15T09:40:30.923" v="323" actId="20577"/>
        <pc:sldMkLst>
          <pc:docMk/>
          <pc:sldMk cId="2847287295" sldId="1397"/>
        </pc:sldMkLst>
        <pc:spChg chg="mod">
          <ac:chgData name="Mullen (ESO), Paul J" userId="bf3d1d73-b4d7-4bb4-8793-c91dcec30622" providerId="ADAL" clId="{D2DF0951-D381-46A5-95AA-836038B31CC0}" dt="2021-10-15T09:40:30.923" v="323" actId="20577"/>
          <ac:spMkLst>
            <pc:docMk/>
            <pc:sldMk cId="2847287295" sldId="1397"/>
            <ac:spMk id="3" creationId="{C9BE2949-70F1-4A3B-B3AF-B6A47E266139}"/>
          </ac:spMkLst>
        </pc:spChg>
      </pc:sldChg>
      <pc:sldChg chg="modSp mod">
        <pc:chgData name="Mullen (ESO), Paul J" userId="bf3d1d73-b4d7-4bb4-8793-c91dcec30622" providerId="ADAL" clId="{D2DF0951-D381-46A5-95AA-836038B31CC0}" dt="2021-10-15T08:49:07.354" v="216" actId="20577"/>
        <pc:sldMkLst>
          <pc:docMk/>
          <pc:sldMk cId="2331349124" sldId="1398"/>
        </pc:sldMkLst>
        <pc:spChg chg="mod">
          <ac:chgData name="Mullen (ESO), Paul J" userId="bf3d1d73-b4d7-4bb4-8793-c91dcec30622" providerId="ADAL" clId="{D2DF0951-D381-46A5-95AA-836038B31CC0}" dt="2021-10-15T08:48:51.163" v="215" actId="6549"/>
          <ac:spMkLst>
            <pc:docMk/>
            <pc:sldMk cId="2331349124" sldId="1398"/>
            <ac:spMk id="4" creationId="{00000000-0000-0000-0000-000000000000}"/>
          </ac:spMkLst>
        </pc:spChg>
        <pc:graphicFrameChg chg="mod">
          <ac:chgData name="Mullen (ESO), Paul J" userId="bf3d1d73-b4d7-4bb4-8793-c91dcec30622" providerId="ADAL" clId="{D2DF0951-D381-46A5-95AA-836038B31CC0}" dt="2021-10-15T08:49:07.354" v="216" actId="20577"/>
          <ac:graphicFrameMkLst>
            <pc:docMk/>
            <pc:sldMk cId="2331349124" sldId="1398"/>
            <ac:graphicFrameMk id="5" creationId="{69CCDA93-5F31-4AD0-ACB1-0F5F6AFEA016}"/>
          </ac:graphicFrameMkLst>
        </pc:graphicFrameChg>
      </pc:sldChg>
      <pc:sldChg chg="modSp mod">
        <pc:chgData name="Mullen (ESO), Paul J" userId="bf3d1d73-b4d7-4bb4-8793-c91dcec30622" providerId="ADAL" clId="{D2DF0951-D381-46A5-95AA-836038B31CC0}" dt="2021-10-15T08:49:30.780" v="227" actId="6549"/>
        <pc:sldMkLst>
          <pc:docMk/>
          <pc:sldMk cId="4069766144" sldId="1399"/>
        </pc:sldMkLst>
        <pc:spChg chg="mod">
          <ac:chgData name="Mullen (ESO), Paul J" userId="bf3d1d73-b4d7-4bb4-8793-c91dcec30622" providerId="ADAL" clId="{D2DF0951-D381-46A5-95AA-836038B31CC0}" dt="2021-10-15T08:49:30.780" v="227" actId="6549"/>
          <ac:spMkLst>
            <pc:docMk/>
            <pc:sldMk cId="4069766144" sldId="1399"/>
            <ac:spMk id="4" creationId="{00000000-0000-0000-0000-000000000000}"/>
          </ac:spMkLst>
        </pc:spChg>
      </pc:sldChg>
      <pc:sldChg chg="modSp mod">
        <pc:chgData name="Mullen (ESO), Paul J" userId="bf3d1d73-b4d7-4bb4-8793-c91dcec30622" providerId="ADAL" clId="{D2DF0951-D381-46A5-95AA-836038B31CC0}" dt="2021-10-15T09:40:55.963" v="324" actId="1076"/>
        <pc:sldMkLst>
          <pc:docMk/>
          <pc:sldMk cId="1467341039" sldId="1434"/>
        </pc:sldMkLst>
        <pc:spChg chg="mod">
          <ac:chgData name="Mullen (ESO), Paul J" userId="bf3d1d73-b4d7-4bb4-8793-c91dcec30622" providerId="ADAL" clId="{D2DF0951-D381-46A5-95AA-836038B31CC0}" dt="2021-10-15T09:40:55.963" v="324" actId="1076"/>
          <ac:spMkLst>
            <pc:docMk/>
            <pc:sldMk cId="1467341039" sldId="1434"/>
            <ac:spMk id="2" creationId="{45962E1F-3E2E-4800-B746-C2585194061B}"/>
          </ac:spMkLst>
        </pc:spChg>
      </pc:sldChg>
      <pc:sldChg chg="addSp delSp modSp mod">
        <pc:chgData name="Mullen (ESO), Paul J" userId="bf3d1d73-b4d7-4bb4-8793-c91dcec30622" providerId="ADAL" clId="{D2DF0951-D381-46A5-95AA-836038B31CC0}" dt="2021-10-15T09:39:46.960" v="321" actId="1038"/>
        <pc:sldMkLst>
          <pc:docMk/>
          <pc:sldMk cId="1257651181" sldId="1435"/>
        </pc:sldMkLst>
        <pc:spChg chg="mod">
          <ac:chgData name="Mullen (ESO), Paul J" userId="bf3d1d73-b4d7-4bb4-8793-c91dcec30622" providerId="ADAL" clId="{D2DF0951-D381-46A5-95AA-836038B31CC0}" dt="2021-10-15T09:13:06.079" v="238" actId="20577"/>
          <ac:spMkLst>
            <pc:docMk/>
            <pc:sldMk cId="1257651181" sldId="1435"/>
            <ac:spMk id="4" creationId="{00000000-0000-0000-0000-000000000000}"/>
          </ac:spMkLst>
        </pc:spChg>
        <pc:graphicFrameChg chg="del">
          <ac:chgData name="Mullen (ESO), Paul J" userId="bf3d1d73-b4d7-4bb4-8793-c91dcec30622" providerId="ADAL" clId="{D2DF0951-D381-46A5-95AA-836038B31CC0}" dt="2021-10-15T09:13:10.572" v="239" actId="478"/>
          <ac:graphicFrameMkLst>
            <pc:docMk/>
            <pc:sldMk cId="1257651181" sldId="1435"/>
            <ac:graphicFrameMk id="2" creationId="{6C9A9552-A353-41AF-8A43-41ECF23B5BAE}"/>
          </ac:graphicFrameMkLst>
        </pc:graphicFrameChg>
        <pc:graphicFrameChg chg="add mod modGraphic">
          <ac:chgData name="Mullen (ESO), Paul J" userId="bf3d1d73-b4d7-4bb4-8793-c91dcec30622" providerId="ADAL" clId="{D2DF0951-D381-46A5-95AA-836038B31CC0}" dt="2021-10-15T09:39:46.960" v="321" actId="1038"/>
          <ac:graphicFrameMkLst>
            <pc:docMk/>
            <pc:sldMk cId="1257651181" sldId="1435"/>
            <ac:graphicFrameMk id="6" creationId="{C2CEFEBD-2942-4E62-B0EC-24C5B2F08FB5}"/>
          </ac:graphicFrameMkLst>
        </pc:graphicFrameChg>
      </pc:sldChg>
      <pc:sldChg chg="modSp add mod">
        <pc:chgData name="Mullen (ESO), Paul J" userId="bf3d1d73-b4d7-4bb4-8793-c91dcec30622" providerId="ADAL" clId="{D2DF0951-D381-46A5-95AA-836038B31CC0}" dt="2021-10-15T08:48:40.255" v="200" actId="20577"/>
        <pc:sldMkLst>
          <pc:docMk/>
          <pc:sldMk cId="266562009" sldId="1436"/>
        </pc:sldMkLst>
        <pc:spChg chg="mod">
          <ac:chgData name="Mullen (ESO), Paul J" userId="bf3d1d73-b4d7-4bb4-8793-c91dcec30622" providerId="ADAL" clId="{D2DF0951-D381-46A5-95AA-836038B31CC0}" dt="2021-10-15T08:48:40.255" v="200" actId="20577"/>
          <ac:spMkLst>
            <pc:docMk/>
            <pc:sldMk cId="266562009" sldId="1436"/>
            <ac:spMk id="3" creationId="{C9BE2949-70F1-4A3B-B3AF-B6A47E266139}"/>
          </ac:spMkLst>
        </pc:spChg>
      </pc:sldChg>
      <pc:sldChg chg="modSp add mod">
        <pc:chgData name="Mullen (ESO), Paul J" userId="bf3d1d73-b4d7-4bb4-8793-c91dcec30622" providerId="ADAL" clId="{D2DF0951-D381-46A5-95AA-836038B31CC0}" dt="2021-10-15T09:41:56.788" v="404" actId="6549"/>
        <pc:sldMkLst>
          <pc:docMk/>
          <pc:sldMk cId="138792161" sldId="1437"/>
        </pc:sldMkLst>
        <pc:spChg chg="mod">
          <ac:chgData name="Mullen (ESO), Paul J" userId="bf3d1d73-b4d7-4bb4-8793-c91dcec30622" providerId="ADAL" clId="{D2DF0951-D381-46A5-95AA-836038B31CC0}" dt="2021-10-15T09:41:56.788" v="404" actId="6549"/>
          <ac:spMkLst>
            <pc:docMk/>
            <pc:sldMk cId="138792161" sldId="1437"/>
            <ac:spMk id="2" creationId="{45962E1F-3E2E-4800-B746-C2585194061B}"/>
          </ac:spMkLst>
        </pc:spChg>
        <pc:spChg chg="mod">
          <ac:chgData name="Mullen (ESO), Paul J" userId="bf3d1d73-b4d7-4bb4-8793-c91dcec30622" providerId="ADAL" clId="{D2DF0951-D381-46A5-95AA-836038B31CC0}" dt="2021-10-15T09:41:15.477" v="358" actId="1076"/>
          <ac:spMkLst>
            <pc:docMk/>
            <pc:sldMk cId="138792161" sldId="1437"/>
            <ac:spMk id="3" creationId="{C9BE2949-70F1-4A3B-B3AF-B6A47E266139}"/>
          </ac:spMkLst>
        </pc:spChg>
      </pc:sldChg>
      <pc:sldMasterChg chg="del delSldLayout">
        <pc:chgData name="Mullen (ESO), Paul J" userId="bf3d1d73-b4d7-4bb4-8793-c91dcec30622" providerId="ADAL" clId="{D2DF0951-D381-46A5-95AA-836038B31CC0}" dt="2021-10-15T08:46:32.473" v="39" actId="47"/>
        <pc:sldMasterMkLst>
          <pc:docMk/>
          <pc:sldMasterMk cId="1619176644" sldId="2147483728"/>
        </pc:sldMasterMkLst>
        <pc:sldLayoutChg chg="del">
          <pc:chgData name="Mullen (ESO), Paul J" userId="bf3d1d73-b4d7-4bb4-8793-c91dcec30622" providerId="ADAL" clId="{D2DF0951-D381-46A5-95AA-836038B31CC0}" dt="2021-10-15T08:46:32.473" v="39" actId="47"/>
          <pc:sldLayoutMkLst>
            <pc:docMk/>
            <pc:sldMasterMk cId="1619176644" sldId="2147483728"/>
            <pc:sldLayoutMk cId="948158163" sldId="2147483729"/>
          </pc:sldLayoutMkLst>
        </pc:sldLayoutChg>
        <pc:sldLayoutChg chg="del">
          <pc:chgData name="Mullen (ESO), Paul J" userId="bf3d1d73-b4d7-4bb4-8793-c91dcec30622" providerId="ADAL" clId="{D2DF0951-D381-46A5-95AA-836038B31CC0}" dt="2021-10-15T08:46:32.473" v="39" actId="47"/>
          <pc:sldLayoutMkLst>
            <pc:docMk/>
            <pc:sldMasterMk cId="1619176644" sldId="2147483728"/>
            <pc:sldLayoutMk cId="2601262665" sldId="2147483730"/>
          </pc:sldLayoutMkLst>
        </pc:sldLayoutChg>
        <pc:sldLayoutChg chg="del">
          <pc:chgData name="Mullen (ESO), Paul J" userId="bf3d1d73-b4d7-4bb4-8793-c91dcec30622" providerId="ADAL" clId="{D2DF0951-D381-46A5-95AA-836038B31CC0}" dt="2021-10-15T08:46:32.473" v="39" actId="47"/>
          <pc:sldLayoutMkLst>
            <pc:docMk/>
            <pc:sldMasterMk cId="1619176644" sldId="2147483728"/>
            <pc:sldLayoutMk cId="3223331992" sldId="2147483731"/>
          </pc:sldLayoutMkLst>
        </pc:sldLayoutChg>
        <pc:sldLayoutChg chg="del">
          <pc:chgData name="Mullen (ESO), Paul J" userId="bf3d1d73-b4d7-4bb4-8793-c91dcec30622" providerId="ADAL" clId="{D2DF0951-D381-46A5-95AA-836038B31CC0}" dt="2021-10-15T08:46:32.473" v="39" actId="47"/>
          <pc:sldLayoutMkLst>
            <pc:docMk/>
            <pc:sldMasterMk cId="1619176644" sldId="2147483728"/>
            <pc:sldLayoutMk cId="1437148418" sldId="2147483732"/>
          </pc:sldLayoutMkLst>
        </pc:sldLayoutChg>
        <pc:sldLayoutChg chg="del">
          <pc:chgData name="Mullen (ESO), Paul J" userId="bf3d1d73-b4d7-4bb4-8793-c91dcec30622" providerId="ADAL" clId="{D2DF0951-D381-46A5-95AA-836038B31CC0}" dt="2021-10-15T08:46:32.473" v="39" actId="47"/>
          <pc:sldLayoutMkLst>
            <pc:docMk/>
            <pc:sldMasterMk cId="1619176644" sldId="2147483728"/>
            <pc:sldLayoutMk cId="3393712928" sldId="2147483733"/>
          </pc:sldLayoutMkLst>
        </pc:sldLayoutChg>
        <pc:sldLayoutChg chg="del">
          <pc:chgData name="Mullen (ESO), Paul J" userId="bf3d1d73-b4d7-4bb4-8793-c91dcec30622" providerId="ADAL" clId="{D2DF0951-D381-46A5-95AA-836038B31CC0}" dt="2021-10-15T08:46:32.473" v="39" actId="47"/>
          <pc:sldLayoutMkLst>
            <pc:docMk/>
            <pc:sldMasterMk cId="1619176644" sldId="2147483728"/>
            <pc:sldLayoutMk cId="1827753120" sldId="2147483734"/>
          </pc:sldLayoutMkLst>
        </pc:sldLayoutChg>
        <pc:sldLayoutChg chg="del">
          <pc:chgData name="Mullen (ESO), Paul J" userId="bf3d1d73-b4d7-4bb4-8793-c91dcec30622" providerId="ADAL" clId="{D2DF0951-D381-46A5-95AA-836038B31CC0}" dt="2021-10-15T08:46:32.473" v="39" actId="47"/>
          <pc:sldLayoutMkLst>
            <pc:docMk/>
            <pc:sldMasterMk cId="1619176644" sldId="2147483728"/>
            <pc:sldLayoutMk cId="2520593031" sldId="2147483735"/>
          </pc:sldLayoutMkLst>
        </pc:sldLayoutChg>
        <pc:sldLayoutChg chg="del">
          <pc:chgData name="Mullen (ESO), Paul J" userId="bf3d1d73-b4d7-4bb4-8793-c91dcec30622" providerId="ADAL" clId="{D2DF0951-D381-46A5-95AA-836038B31CC0}" dt="2021-10-15T08:46:32.473" v="39" actId="47"/>
          <pc:sldLayoutMkLst>
            <pc:docMk/>
            <pc:sldMasterMk cId="1619176644" sldId="2147483728"/>
            <pc:sldLayoutMk cId="460791327" sldId="2147483736"/>
          </pc:sldLayoutMkLst>
        </pc:sldLayoutChg>
        <pc:sldLayoutChg chg="del">
          <pc:chgData name="Mullen (ESO), Paul J" userId="bf3d1d73-b4d7-4bb4-8793-c91dcec30622" providerId="ADAL" clId="{D2DF0951-D381-46A5-95AA-836038B31CC0}" dt="2021-10-15T08:46:32.473" v="39" actId="47"/>
          <pc:sldLayoutMkLst>
            <pc:docMk/>
            <pc:sldMasterMk cId="1619176644" sldId="2147483728"/>
            <pc:sldLayoutMk cId="35061116" sldId="2147483737"/>
          </pc:sldLayoutMkLst>
        </pc:sldLayoutChg>
        <pc:sldLayoutChg chg="del">
          <pc:chgData name="Mullen (ESO), Paul J" userId="bf3d1d73-b4d7-4bb4-8793-c91dcec30622" providerId="ADAL" clId="{D2DF0951-D381-46A5-95AA-836038B31CC0}" dt="2021-10-15T08:46:32.473" v="39" actId="47"/>
          <pc:sldLayoutMkLst>
            <pc:docMk/>
            <pc:sldMasterMk cId="1619176644" sldId="2147483728"/>
            <pc:sldLayoutMk cId="1302084052" sldId="2147483738"/>
          </pc:sldLayoutMkLst>
        </pc:sldLayoutChg>
        <pc:sldLayoutChg chg="del">
          <pc:chgData name="Mullen (ESO), Paul J" userId="bf3d1d73-b4d7-4bb4-8793-c91dcec30622" providerId="ADAL" clId="{D2DF0951-D381-46A5-95AA-836038B31CC0}" dt="2021-10-15T08:46:32.473" v="39" actId="47"/>
          <pc:sldLayoutMkLst>
            <pc:docMk/>
            <pc:sldMasterMk cId="1619176644" sldId="2147483728"/>
            <pc:sldLayoutMk cId="3262252778" sldId="2147483739"/>
          </pc:sldLayoutMkLst>
        </pc:sldLayoutChg>
        <pc:sldLayoutChg chg="del">
          <pc:chgData name="Mullen (ESO), Paul J" userId="bf3d1d73-b4d7-4bb4-8793-c91dcec30622" providerId="ADAL" clId="{D2DF0951-D381-46A5-95AA-836038B31CC0}" dt="2021-10-15T08:46:32.473" v="39" actId="47"/>
          <pc:sldLayoutMkLst>
            <pc:docMk/>
            <pc:sldMasterMk cId="1619176644" sldId="2147483728"/>
            <pc:sldLayoutMk cId="3493224842" sldId="2147483740"/>
          </pc:sldLayoutMkLst>
        </pc:sldLayoutChg>
        <pc:sldLayoutChg chg="del">
          <pc:chgData name="Mullen (ESO), Paul J" userId="bf3d1d73-b4d7-4bb4-8793-c91dcec30622" providerId="ADAL" clId="{D2DF0951-D381-46A5-95AA-836038B31CC0}" dt="2021-10-15T08:46:32.473" v="39" actId="47"/>
          <pc:sldLayoutMkLst>
            <pc:docMk/>
            <pc:sldMasterMk cId="1619176644" sldId="2147483728"/>
            <pc:sldLayoutMk cId="3096845792" sldId="2147483741"/>
          </pc:sldLayoutMkLst>
        </pc:sldLayoutChg>
        <pc:sldLayoutChg chg="del">
          <pc:chgData name="Mullen (ESO), Paul J" userId="bf3d1d73-b4d7-4bb4-8793-c91dcec30622" providerId="ADAL" clId="{D2DF0951-D381-46A5-95AA-836038B31CC0}" dt="2021-10-15T08:46:32.473" v="39" actId="47"/>
          <pc:sldLayoutMkLst>
            <pc:docMk/>
            <pc:sldMasterMk cId="1619176644" sldId="2147483728"/>
            <pc:sldLayoutMk cId="1173093922" sldId="2147483742"/>
          </pc:sldLayoutMkLst>
        </pc:sldLayoutChg>
        <pc:sldLayoutChg chg="del">
          <pc:chgData name="Mullen (ESO), Paul J" userId="bf3d1d73-b4d7-4bb4-8793-c91dcec30622" providerId="ADAL" clId="{D2DF0951-D381-46A5-95AA-836038B31CC0}" dt="2021-10-15T08:46:32.473" v="39" actId="47"/>
          <pc:sldLayoutMkLst>
            <pc:docMk/>
            <pc:sldMasterMk cId="1619176644" sldId="2147483728"/>
            <pc:sldLayoutMk cId="63034173" sldId="2147483743"/>
          </pc:sldLayoutMkLst>
        </pc:sldLayoutChg>
        <pc:sldLayoutChg chg="del">
          <pc:chgData name="Mullen (ESO), Paul J" userId="bf3d1d73-b4d7-4bb4-8793-c91dcec30622" providerId="ADAL" clId="{D2DF0951-D381-46A5-95AA-836038B31CC0}" dt="2021-10-15T08:46:32.473" v="39" actId="47"/>
          <pc:sldLayoutMkLst>
            <pc:docMk/>
            <pc:sldMasterMk cId="1619176644" sldId="2147483728"/>
            <pc:sldLayoutMk cId="472277493" sldId="2147483744"/>
          </pc:sldLayoutMkLst>
        </pc:sldLayoutChg>
      </pc:sldMasterChg>
    </pc:docChg>
  </pc:docChgLst>
  <pc:docChgLst>
    <pc:chgData name="Mullen (ESO), Paul J" userId="bf3d1d73-b4d7-4bb4-8793-c91dcec30622" providerId="ADAL" clId="{76D5D5C5-3320-4CE7-9B14-170232C4B3EE}"/>
    <pc:docChg chg="custSel addSld delSld modSld modSection">
      <pc:chgData name="Mullen (ESO), Paul J" userId="bf3d1d73-b4d7-4bb4-8793-c91dcec30622" providerId="ADAL" clId="{76D5D5C5-3320-4CE7-9B14-170232C4B3EE}" dt="2021-12-20T18:45:12.600" v="159" actId="5793"/>
      <pc:docMkLst>
        <pc:docMk/>
      </pc:docMkLst>
      <pc:sldChg chg="addSp delSp modSp add del mod">
        <pc:chgData name="Mullen (ESO), Paul J" userId="bf3d1d73-b4d7-4bb4-8793-c91dcec30622" providerId="ADAL" clId="{76D5D5C5-3320-4CE7-9B14-170232C4B3EE}" dt="2021-12-20T18:33:28.815" v="73" actId="47"/>
        <pc:sldMkLst>
          <pc:docMk/>
          <pc:sldMk cId="1721209213" sldId="5946"/>
        </pc:sldMkLst>
        <pc:spChg chg="mod">
          <ac:chgData name="Mullen (ESO), Paul J" userId="bf3d1d73-b4d7-4bb4-8793-c91dcec30622" providerId="ADAL" clId="{76D5D5C5-3320-4CE7-9B14-170232C4B3EE}" dt="2021-12-20T18:08:53.300" v="66" actId="6549"/>
          <ac:spMkLst>
            <pc:docMk/>
            <pc:sldMk cId="1721209213" sldId="5946"/>
            <ac:spMk id="2" creationId="{45962E1F-3E2E-4800-B746-C2585194061B}"/>
          </ac:spMkLst>
        </pc:spChg>
        <pc:spChg chg="mod">
          <ac:chgData name="Mullen (ESO), Paul J" userId="bf3d1d73-b4d7-4bb4-8793-c91dcec30622" providerId="ADAL" clId="{76D5D5C5-3320-4CE7-9B14-170232C4B3EE}" dt="2021-12-20T18:08:59.027" v="67" actId="1076"/>
          <ac:spMkLst>
            <pc:docMk/>
            <pc:sldMk cId="1721209213" sldId="5946"/>
            <ac:spMk id="3" creationId="{C9BE2949-70F1-4A3B-B3AF-B6A47E266139}"/>
          </ac:spMkLst>
        </pc:spChg>
        <pc:picChg chg="add del">
          <ac:chgData name="Mullen (ESO), Paul J" userId="bf3d1d73-b4d7-4bb4-8793-c91dcec30622" providerId="ADAL" clId="{76D5D5C5-3320-4CE7-9B14-170232C4B3EE}" dt="2021-12-20T18:31:39.151" v="69"/>
          <ac:picMkLst>
            <pc:docMk/>
            <pc:sldMk cId="1721209213" sldId="5946"/>
            <ac:picMk id="1026" creationId="{8C805352-9CBC-467C-8221-9045C31B5DDB}"/>
          </ac:picMkLst>
        </pc:picChg>
        <pc:picChg chg="add del">
          <ac:chgData name="Mullen (ESO), Paul J" userId="bf3d1d73-b4d7-4bb4-8793-c91dcec30622" providerId="ADAL" clId="{76D5D5C5-3320-4CE7-9B14-170232C4B3EE}" dt="2021-12-20T18:32:08.714" v="71"/>
          <ac:picMkLst>
            <pc:docMk/>
            <pc:sldMk cId="1721209213" sldId="5946"/>
            <ac:picMk id="1028" creationId="{194C1D1E-2EA7-4B0A-B483-21002EB41456}"/>
          </ac:picMkLst>
        </pc:picChg>
        <pc:picChg chg="add">
          <ac:chgData name="Mullen (ESO), Paul J" userId="bf3d1d73-b4d7-4bb4-8793-c91dcec30622" providerId="ADAL" clId="{76D5D5C5-3320-4CE7-9B14-170232C4B3EE}" dt="2021-12-20T18:33:25.806" v="72"/>
          <ac:picMkLst>
            <pc:docMk/>
            <pc:sldMk cId="1721209213" sldId="5946"/>
            <ac:picMk id="1030" creationId="{A0851F5D-D93E-457E-9D54-B06383B47BF6}"/>
          </ac:picMkLst>
        </pc:picChg>
      </pc:sldChg>
      <pc:sldChg chg="add">
        <pc:chgData name="Mullen (ESO), Paul J" userId="bf3d1d73-b4d7-4bb4-8793-c91dcec30622" providerId="ADAL" clId="{76D5D5C5-3320-4CE7-9B14-170232C4B3EE}" dt="2021-12-20T18:33:58.717" v="74"/>
        <pc:sldMkLst>
          <pc:docMk/>
          <pc:sldMk cId="2944084772" sldId="5996"/>
        </pc:sldMkLst>
      </pc:sldChg>
      <pc:sldChg chg="modSp add mod">
        <pc:chgData name="Mullen (ESO), Paul J" userId="bf3d1d73-b4d7-4bb4-8793-c91dcec30622" providerId="ADAL" clId="{76D5D5C5-3320-4CE7-9B14-170232C4B3EE}" dt="2021-12-20T18:45:12.600" v="159" actId="5793"/>
        <pc:sldMkLst>
          <pc:docMk/>
          <pc:sldMk cId="3831473766" sldId="6009"/>
        </pc:sldMkLst>
        <pc:spChg chg="mod">
          <ac:chgData name="Mullen (ESO), Paul J" userId="bf3d1d73-b4d7-4bb4-8793-c91dcec30622" providerId="ADAL" clId="{76D5D5C5-3320-4CE7-9B14-170232C4B3EE}" dt="2021-12-20T18:45:12.600" v="159" actId="5793"/>
          <ac:spMkLst>
            <pc:docMk/>
            <pc:sldMk cId="3831473766" sldId="6009"/>
            <ac:spMk id="3" creationId="{4B9436A1-CA92-4A2B-BBC8-A39422882BA0}"/>
          </ac:spMkLst>
        </pc:spChg>
      </pc:sldChg>
      <pc:sldChg chg="add">
        <pc:chgData name="Mullen (ESO), Paul J" userId="bf3d1d73-b4d7-4bb4-8793-c91dcec30622" providerId="ADAL" clId="{76D5D5C5-3320-4CE7-9B14-170232C4B3EE}" dt="2021-12-20T18:33:58.717" v="74"/>
        <pc:sldMkLst>
          <pc:docMk/>
          <pc:sldMk cId="2088539066" sldId="6010"/>
        </pc:sldMkLst>
      </pc:sldChg>
      <pc:sldChg chg="add">
        <pc:chgData name="Mullen (ESO), Paul J" userId="bf3d1d73-b4d7-4bb4-8793-c91dcec30622" providerId="ADAL" clId="{76D5D5C5-3320-4CE7-9B14-170232C4B3EE}" dt="2021-12-20T18:33:58.717" v="74"/>
        <pc:sldMkLst>
          <pc:docMk/>
          <pc:sldMk cId="504804524" sldId="6011"/>
        </pc:sldMkLst>
      </pc:sldChg>
      <pc:sldChg chg="add">
        <pc:chgData name="Mullen (ESO), Paul J" userId="bf3d1d73-b4d7-4bb4-8793-c91dcec30622" providerId="ADAL" clId="{76D5D5C5-3320-4CE7-9B14-170232C4B3EE}" dt="2021-12-20T18:33:58.717" v="74"/>
        <pc:sldMkLst>
          <pc:docMk/>
          <pc:sldMk cId="2545856847" sldId="6012"/>
        </pc:sldMkLst>
      </pc:sldChg>
      <pc:sldChg chg="add">
        <pc:chgData name="Mullen (ESO), Paul J" userId="bf3d1d73-b4d7-4bb4-8793-c91dcec30622" providerId="ADAL" clId="{76D5D5C5-3320-4CE7-9B14-170232C4B3EE}" dt="2021-12-20T18:33:58.717" v="74"/>
        <pc:sldMkLst>
          <pc:docMk/>
          <pc:sldMk cId="643947297" sldId="6013"/>
        </pc:sldMkLst>
      </pc:sldChg>
      <pc:sldChg chg="add">
        <pc:chgData name="Mullen (ESO), Paul J" userId="bf3d1d73-b4d7-4bb4-8793-c91dcec30622" providerId="ADAL" clId="{76D5D5C5-3320-4CE7-9B14-170232C4B3EE}" dt="2021-12-20T18:33:58.717" v="74"/>
        <pc:sldMkLst>
          <pc:docMk/>
          <pc:sldMk cId="3274779983" sldId="6016"/>
        </pc:sldMkLst>
      </pc:sldChg>
      <pc:sldChg chg="modSp add mod">
        <pc:chgData name="Mullen (ESO), Paul J" userId="bf3d1d73-b4d7-4bb4-8793-c91dcec30622" providerId="ADAL" clId="{76D5D5C5-3320-4CE7-9B14-170232C4B3EE}" dt="2021-12-20T18:36:00.782" v="154" actId="1076"/>
        <pc:sldMkLst>
          <pc:docMk/>
          <pc:sldMk cId="3838504476" sldId="6017"/>
        </pc:sldMkLst>
        <pc:spChg chg="mod">
          <ac:chgData name="Mullen (ESO), Paul J" userId="bf3d1d73-b4d7-4bb4-8793-c91dcec30622" providerId="ADAL" clId="{76D5D5C5-3320-4CE7-9B14-170232C4B3EE}" dt="2021-12-20T18:35:57.144" v="153" actId="1076"/>
          <ac:spMkLst>
            <pc:docMk/>
            <pc:sldMk cId="3838504476" sldId="6017"/>
            <ac:spMk id="2" creationId="{45962E1F-3E2E-4800-B746-C2585194061B}"/>
          </ac:spMkLst>
        </pc:spChg>
        <pc:spChg chg="mod">
          <ac:chgData name="Mullen (ESO), Paul J" userId="bf3d1d73-b4d7-4bb4-8793-c91dcec30622" providerId="ADAL" clId="{76D5D5C5-3320-4CE7-9B14-170232C4B3EE}" dt="2021-12-20T18:36:00.782" v="154" actId="1076"/>
          <ac:spMkLst>
            <pc:docMk/>
            <pc:sldMk cId="3838504476" sldId="6017"/>
            <ac:spMk id="3" creationId="{C9BE2949-70F1-4A3B-B3AF-B6A47E266139}"/>
          </ac:spMkLst>
        </pc:spChg>
      </pc:sldChg>
      <pc:sldMasterChg chg="delSldLayout">
        <pc:chgData name="Mullen (ESO), Paul J" userId="bf3d1d73-b4d7-4bb4-8793-c91dcec30622" providerId="ADAL" clId="{76D5D5C5-3320-4CE7-9B14-170232C4B3EE}" dt="2021-12-20T18:33:28.815" v="73" actId="47"/>
        <pc:sldMasterMkLst>
          <pc:docMk/>
          <pc:sldMasterMk cId="433992930" sldId="2147483773"/>
        </pc:sldMasterMkLst>
        <pc:sldLayoutChg chg="del">
          <pc:chgData name="Mullen (ESO), Paul J" userId="bf3d1d73-b4d7-4bb4-8793-c91dcec30622" providerId="ADAL" clId="{76D5D5C5-3320-4CE7-9B14-170232C4B3EE}" dt="2021-12-20T18:33:28.815" v="73" actId="47"/>
          <pc:sldLayoutMkLst>
            <pc:docMk/>
            <pc:sldMasterMk cId="433992930" sldId="2147483773"/>
            <pc:sldLayoutMk cId="4123874305" sldId="2147483802"/>
          </pc:sldLayoutMkLst>
        </pc:sldLayoutChg>
      </pc:sldMasterChg>
    </pc:docChg>
  </pc:docChgLst>
  <pc:docChgLst>
    <pc:chgData name="Mullen (ESO), Paul J" userId="bf3d1d73-b4d7-4bb4-8793-c91dcec30622" providerId="ADAL" clId="{2277F804-881D-4D31-8A2D-50F856AFA7E7}"/>
    <pc:docChg chg="undo custSel addSld modSld">
      <pc:chgData name="Mullen (ESO), Paul J" userId="bf3d1d73-b4d7-4bb4-8793-c91dcec30622" providerId="ADAL" clId="{2277F804-881D-4D31-8A2D-50F856AFA7E7}" dt="2021-07-14T17:46:33.363" v="892" actId="6549"/>
      <pc:docMkLst>
        <pc:docMk/>
      </pc:docMkLst>
    </pc:docChg>
  </pc:docChgLst>
  <pc:docChgLst>
    <pc:chgData name="Mullen (ESO), Paul J" userId="bf3d1d73-b4d7-4bb4-8793-c91dcec30622" providerId="ADAL" clId="{86235EAB-9231-440D-8DA0-9E611275FD2F}"/>
    <pc:docChg chg="custSel addSld delSld modSld sldOrd">
      <pc:chgData name="Mullen (ESO), Paul J" userId="bf3d1d73-b4d7-4bb4-8793-c91dcec30622" providerId="ADAL" clId="{86235EAB-9231-440D-8DA0-9E611275FD2F}" dt="2021-10-18T08:14:19.695" v="2883" actId="20577"/>
      <pc:docMkLst>
        <pc:docMk/>
      </pc:docMkLst>
      <pc:sldChg chg="add modNotesTx">
        <pc:chgData name="Mullen (ESO), Paul J" userId="bf3d1d73-b4d7-4bb4-8793-c91dcec30622" providerId="ADAL" clId="{86235EAB-9231-440D-8DA0-9E611275FD2F}" dt="2021-10-18T07:34:02.428" v="2023" actId="14"/>
        <pc:sldMkLst>
          <pc:docMk/>
          <pc:sldMk cId="791035133" sldId="310"/>
        </pc:sldMkLst>
      </pc:sldChg>
      <pc:sldChg chg="add modNotesTx">
        <pc:chgData name="Mullen (ESO), Paul J" userId="bf3d1d73-b4d7-4bb4-8793-c91dcec30622" providerId="ADAL" clId="{86235EAB-9231-440D-8DA0-9E611275FD2F}" dt="2021-10-18T07:34:44.442" v="2026" actId="20577"/>
        <pc:sldMkLst>
          <pc:docMk/>
          <pc:sldMk cId="157628853" sldId="311"/>
        </pc:sldMkLst>
      </pc:sldChg>
      <pc:sldChg chg="add modNotesTx">
        <pc:chgData name="Mullen (ESO), Paul J" userId="bf3d1d73-b4d7-4bb4-8793-c91dcec30622" providerId="ADAL" clId="{86235EAB-9231-440D-8DA0-9E611275FD2F}" dt="2021-10-18T07:35:28.661" v="2114" actId="20577"/>
        <pc:sldMkLst>
          <pc:docMk/>
          <pc:sldMk cId="122503846" sldId="312"/>
        </pc:sldMkLst>
      </pc:sldChg>
      <pc:sldChg chg="add modNotesTx">
        <pc:chgData name="Mullen (ESO), Paul J" userId="bf3d1d73-b4d7-4bb4-8793-c91dcec30622" providerId="ADAL" clId="{86235EAB-9231-440D-8DA0-9E611275FD2F}" dt="2021-10-18T07:35:38.707" v="2117" actId="20577"/>
        <pc:sldMkLst>
          <pc:docMk/>
          <pc:sldMk cId="3737305584" sldId="313"/>
        </pc:sldMkLst>
      </pc:sldChg>
      <pc:sldChg chg="add ord modNotesTx">
        <pc:chgData name="Mullen (ESO), Paul J" userId="bf3d1d73-b4d7-4bb4-8793-c91dcec30622" providerId="ADAL" clId="{86235EAB-9231-440D-8DA0-9E611275FD2F}" dt="2021-10-18T07:41:13.530" v="2450" actId="20577"/>
        <pc:sldMkLst>
          <pc:docMk/>
          <pc:sldMk cId="2311868896" sldId="319"/>
        </pc:sldMkLst>
      </pc:sldChg>
      <pc:sldChg chg="modSp mod">
        <pc:chgData name="Mullen (ESO), Paul J" userId="bf3d1d73-b4d7-4bb4-8793-c91dcec30622" providerId="ADAL" clId="{86235EAB-9231-440D-8DA0-9E611275FD2F}" dt="2021-10-18T07:51:23.669" v="2591" actId="20577"/>
        <pc:sldMkLst>
          <pc:docMk/>
          <pc:sldMk cId="138792161" sldId="1437"/>
        </pc:sldMkLst>
        <pc:spChg chg="mod">
          <ac:chgData name="Mullen (ESO), Paul J" userId="bf3d1d73-b4d7-4bb4-8793-c91dcec30622" providerId="ADAL" clId="{86235EAB-9231-440D-8DA0-9E611275FD2F}" dt="2021-10-18T07:51:05.964" v="2586" actId="1076"/>
          <ac:spMkLst>
            <pc:docMk/>
            <pc:sldMk cId="138792161" sldId="1437"/>
            <ac:spMk id="2" creationId="{45962E1F-3E2E-4800-B746-C2585194061B}"/>
          </ac:spMkLst>
        </pc:spChg>
        <pc:spChg chg="mod">
          <ac:chgData name="Mullen (ESO), Paul J" userId="bf3d1d73-b4d7-4bb4-8793-c91dcec30622" providerId="ADAL" clId="{86235EAB-9231-440D-8DA0-9E611275FD2F}" dt="2021-10-18T07:51:23.669" v="2591" actId="20577"/>
          <ac:spMkLst>
            <pc:docMk/>
            <pc:sldMk cId="138792161" sldId="1437"/>
            <ac:spMk id="3" creationId="{C9BE2949-70F1-4A3B-B3AF-B6A47E266139}"/>
          </ac:spMkLst>
        </pc:spChg>
      </pc:sldChg>
      <pc:sldChg chg="addSp delSp modSp add mod">
        <pc:chgData name="Mullen (ESO), Paul J" userId="bf3d1d73-b4d7-4bb4-8793-c91dcec30622" providerId="ADAL" clId="{86235EAB-9231-440D-8DA0-9E611275FD2F}" dt="2021-10-18T08:14:19.695" v="2883" actId="20577"/>
        <pc:sldMkLst>
          <pc:docMk/>
          <pc:sldMk cId="1871922593" sldId="1438"/>
        </pc:sldMkLst>
        <pc:spChg chg="mod">
          <ac:chgData name="Mullen (ESO), Paul J" userId="bf3d1d73-b4d7-4bb4-8793-c91dcec30622" providerId="ADAL" clId="{86235EAB-9231-440D-8DA0-9E611275FD2F}" dt="2021-10-17T21:15:03.184" v="449" actId="20577"/>
          <ac:spMkLst>
            <pc:docMk/>
            <pc:sldMk cId="1871922593" sldId="1438"/>
            <ac:spMk id="4" creationId="{00000000-0000-0000-0000-000000000000}"/>
          </ac:spMkLst>
        </pc:spChg>
        <pc:spChg chg="del mod topLvl">
          <ac:chgData name="Mullen (ESO), Paul J" userId="bf3d1d73-b4d7-4bb4-8793-c91dcec30622" providerId="ADAL" clId="{86235EAB-9231-440D-8DA0-9E611275FD2F}" dt="2021-10-17T21:06:28.876" v="150" actId="478"/>
          <ac:spMkLst>
            <pc:docMk/>
            <pc:sldMk cId="1871922593" sldId="1438"/>
            <ac:spMk id="8" creationId="{6534089E-20D7-49E3-8211-7BABA7ACD078}"/>
          </ac:spMkLst>
        </pc:spChg>
        <pc:spChg chg="mod topLvl">
          <ac:chgData name="Mullen (ESO), Paul J" userId="bf3d1d73-b4d7-4bb4-8793-c91dcec30622" providerId="ADAL" clId="{86235EAB-9231-440D-8DA0-9E611275FD2F}" dt="2021-10-17T21:20:04.794" v="1195" actId="1035"/>
          <ac:spMkLst>
            <pc:docMk/>
            <pc:sldMk cId="1871922593" sldId="1438"/>
            <ac:spMk id="9" creationId="{002CA36E-E9C0-4E6F-88AD-9E90DCA7D22B}"/>
          </ac:spMkLst>
        </pc:spChg>
        <pc:spChg chg="del mod topLvl">
          <ac:chgData name="Mullen (ESO), Paul J" userId="bf3d1d73-b4d7-4bb4-8793-c91dcec30622" providerId="ADAL" clId="{86235EAB-9231-440D-8DA0-9E611275FD2F}" dt="2021-10-17T21:06:25.432" v="148" actId="478"/>
          <ac:spMkLst>
            <pc:docMk/>
            <pc:sldMk cId="1871922593" sldId="1438"/>
            <ac:spMk id="11" creationId="{2564BE15-7F49-4126-B3CA-60D9380400CA}"/>
          </ac:spMkLst>
        </pc:spChg>
        <pc:spChg chg="mod topLvl">
          <ac:chgData name="Mullen (ESO), Paul J" userId="bf3d1d73-b4d7-4bb4-8793-c91dcec30622" providerId="ADAL" clId="{86235EAB-9231-440D-8DA0-9E611275FD2F}" dt="2021-10-18T08:13:25.597" v="2751" actId="1076"/>
          <ac:spMkLst>
            <pc:docMk/>
            <pc:sldMk cId="1871922593" sldId="1438"/>
            <ac:spMk id="12" creationId="{A7FDD403-51CC-4729-880C-5AB9B7459428}"/>
          </ac:spMkLst>
        </pc:spChg>
        <pc:spChg chg="add mod">
          <ac:chgData name="Mullen (ESO), Paul J" userId="bf3d1d73-b4d7-4bb4-8793-c91dcec30622" providerId="ADAL" clId="{86235EAB-9231-440D-8DA0-9E611275FD2F}" dt="2021-10-18T08:13:09.259" v="2748" actId="20577"/>
          <ac:spMkLst>
            <pc:docMk/>
            <pc:sldMk cId="1871922593" sldId="1438"/>
            <ac:spMk id="14" creationId="{3655A8C2-7E50-4FC9-BEC4-69317240FE22}"/>
          </ac:spMkLst>
        </pc:spChg>
        <pc:spChg chg="mod">
          <ac:chgData name="Mullen (ESO), Paul J" userId="bf3d1d73-b4d7-4bb4-8793-c91dcec30622" providerId="ADAL" clId="{86235EAB-9231-440D-8DA0-9E611275FD2F}" dt="2021-10-17T21:05:53.893" v="138"/>
          <ac:spMkLst>
            <pc:docMk/>
            <pc:sldMk cId="1871922593" sldId="1438"/>
            <ac:spMk id="14" creationId="{70E1843E-D305-4C65-B830-28299329117D}"/>
          </ac:spMkLst>
        </pc:spChg>
        <pc:spChg chg="add mod">
          <ac:chgData name="Mullen (ESO), Paul J" userId="bf3d1d73-b4d7-4bb4-8793-c91dcec30622" providerId="ADAL" clId="{86235EAB-9231-440D-8DA0-9E611275FD2F}" dt="2021-10-18T08:14:19.695" v="2883" actId="20577"/>
          <ac:spMkLst>
            <pc:docMk/>
            <pc:sldMk cId="1871922593" sldId="1438"/>
            <ac:spMk id="15" creationId="{B21794A8-2B2E-49D5-AB9A-16637E219B73}"/>
          </ac:spMkLst>
        </pc:spChg>
        <pc:spChg chg="mod">
          <ac:chgData name="Mullen (ESO), Paul J" userId="bf3d1d73-b4d7-4bb4-8793-c91dcec30622" providerId="ADAL" clId="{86235EAB-9231-440D-8DA0-9E611275FD2F}" dt="2021-10-17T21:05:53.893" v="138"/>
          <ac:spMkLst>
            <pc:docMk/>
            <pc:sldMk cId="1871922593" sldId="1438"/>
            <ac:spMk id="15" creationId="{CBE8E702-1BB3-4C2F-B842-541FAF5C32E3}"/>
          </ac:spMkLst>
        </pc:spChg>
        <pc:spChg chg="add mod">
          <ac:chgData name="Mullen (ESO), Paul J" userId="bf3d1d73-b4d7-4bb4-8793-c91dcec30622" providerId="ADAL" clId="{86235EAB-9231-440D-8DA0-9E611275FD2F}" dt="2021-10-17T21:20:04.794" v="1195" actId="1035"/>
          <ac:spMkLst>
            <pc:docMk/>
            <pc:sldMk cId="1871922593" sldId="1438"/>
            <ac:spMk id="16" creationId="{4A5E2C88-EC34-4815-A6D9-32DBDE091DAE}"/>
          </ac:spMkLst>
        </pc:spChg>
        <pc:spChg chg="add mod">
          <ac:chgData name="Mullen (ESO), Paul J" userId="bf3d1d73-b4d7-4bb4-8793-c91dcec30622" providerId="ADAL" clId="{86235EAB-9231-440D-8DA0-9E611275FD2F}" dt="2021-10-17T21:20:55.613" v="1383" actId="1035"/>
          <ac:spMkLst>
            <pc:docMk/>
            <pc:sldMk cId="1871922593" sldId="1438"/>
            <ac:spMk id="17" creationId="{9DC27E87-A6C6-4DB1-AE2B-E95E9DC14420}"/>
          </ac:spMkLst>
        </pc:spChg>
        <pc:spChg chg="add mod">
          <ac:chgData name="Mullen (ESO), Paul J" userId="bf3d1d73-b4d7-4bb4-8793-c91dcec30622" providerId="ADAL" clId="{86235EAB-9231-440D-8DA0-9E611275FD2F}" dt="2021-10-18T08:13:23.225" v="2750" actId="1076"/>
          <ac:spMkLst>
            <pc:docMk/>
            <pc:sldMk cId="1871922593" sldId="1438"/>
            <ac:spMk id="18" creationId="{84256EA4-EC27-4C3F-A491-71B0BBDE9AD3}"/>
          </ac:spMkLst>
        </pc:spChg>
        <pc:spChg chg="add mod">
          <ac:chgData name="Mullen (ESO), Paul J" userId="bf3d1d73-b4d7-4bb4-8793-c91dcec30622" providerId="ADAL" clId="{86235EAB-9231-440D-8DA0-9E611275FD2F}" dt="2021-10-17T21:21:03.662" v="1401" actId="1035"/>
          <ac:spMkLst>
            <pc:docMk/>
            <pc:sldMk cId="1871922593" sldId="1438"/>
            <ac:spMk id="19" creationId="{3C4E7432-2F14-4742-BB97-A6161F0BFD22}"/>
          </ac:spMkLst>
        </pc:spChg>
        <pc:spChg chg="add mod">
          <ac:chgData name="Mullen (ESO), Paul J" userId="bf3d1d73-b4d7-4bb4-8793-c91dcec30622" providerId="ADAL" clId="{86235EAB-9231-440D-8DA0-9E611275FD2F}" dt="2021-10-17T21:21:48.591" v="1519" actId="20577"/>
          <ac:spMkLst>
            <pc:docMk/>
            <pc:sldMk cId="1871922593" sldId="1438"/>
            <ac:spMk id="20" creationId="{794C2450-0C35-4775-920A-EFA34A2758C7}"/>
          </ac:spMkLst>
        </pc:spChg>
        <pc:spChg chg="add mod">
          <ac:chgData name="Mullen (ESO), Paul J" userId="bf3d1d73-b4d7-4bb4-8793-c91dcec30622" providerId="ADAL" clId="{86235EAB-9231-440D-8DA0-9E611275FD2F}" dt="2021-10-18T08:13:29.871" v="2752" actId="1076"/>
          <ac:spMkLst>
            <pc:docMk/>
            <pc:sldMk cId="1871922593" sldId="1438"/>
            <ac:spMk id="21" creationId="{6E76454A-0AB2-4E84-A9CE-761D8AD7326E}"/>
          </ac:spMkLst>
        </pc:spChg>
        <pc:spChg chg="add mod">
          <ac:chgData name="Mullen (ESO), Paul J" userId="bf3d1d73-b4d7-4bb4-8793-c91dcec30622" providerId="ADAL" clId="{86235EAB-9231-440D-8DA0-9E611275FD2F}" dt="2021-10-17T21:21:00.300" v="1392" actId="1035"/>
          <ac:spMkLst>
            <pc:docMk/>
            <pc:sldMk cId="1871922593" sldId="1438"/>
            <ac:spMk id="22" creationId="{8E471280-6A26-4F71-82A4-ABDBB200C446}"/>
          </ac:spMkLst>
        </pc:spChg>
        <pc:spChg chg="add mod">
          <ac:chgData name="Mullen (ESO), Paul J" userId="bf3d1d73-b4d7-4bb4-8793-c91dcec30622" providerId="ADAL" clId="{86235EAB-9231-440D-8DA0-9E611275FD2F}" dt="2021-10-17T21:22:22.124" v="1615" actId="20577"/>
          <ac:spMkLst>
            <pc:docMk/>
            <pc:sldMk cId="1871922593" sldId="1438"/>
            <ac:spMk id="23" creationId="{4D825453-0060-4C76-992D-977A38861129}"/>
          </ac:spMkLst>
        </pc:spChg>
        <pc:grpChg chg="del mod">
          <ac:chgData name="Mullen (ESO), Paul J" userId="bf3d1d73-b4d7-4bb4-8793-c91dcec30622" providerId="ADAL" clId="{86235EAB-9231-440D-8DA0-9E611275FD2F}" dt="2021-10-17T21:06:28.876" v="150" actId="478"/>
          <ac:grpSpMkLst>
            <pc:docMk/>
            <pc:sldMk cId="1871922593" sldId="1438"/>
            <ac:grpSpMk id="7" creationId="{FD4F61AE-17F8-4E3A-91FE-A0DF88250829}"/>
          </ac:grpSpMkLst>
        </pc:grpChg>
        <pc:grpChg chg="add del mod">
          <ac:chgData name="Mullen (ESO), Paul J" userId="bf3d1d73-b4d7-4bb4-8793-c91dcec30622" providerId="ADAL" clId="{86235EAB-9231-440D-8DA0-9E611275FD2F}" dt="2021-10-17T21:06:25.432" v="148" actId="478"/>
          <ac:grpSpMkLst>
            <pc:docMk/>
            <pc:sldMk cId="1871922593" sldId="1438"/>
            <ac:grpSpMk id="10" creationId="{1032B706-214E-4247-A50D-1D22E53CE6D3}"/>
          </ac:grpSpMkLst>
        </pc:grpChg>
        <pc:grpChg chg="add del mod">
          <ac:chgData name="Mullen (ESO), Paul J" userId="bf3d1d73-b4d7-4bb4-8793-c91dcec30622" providerId="ADAL" clId="{86235EAB-9231-440D-8DA0-9E611275FD2F}" dt="2021-10-17T21:05:59.365" v="140" actId="478"/>
          <ac:grpSpMkLst>
            <pc:docMk/>
            <pc:sldMk cId="1871922593" sldId="1438"/>
            <ac:grpSpMk id="13" creationId="{5F1C2BE5-AE1D-496D-AA9F-3F08DB169436}"/>
          </ac:grpSpMkLst>
        </pc:grpChg>
        <pc:graphicFrameChg chg="del">
          <ac:chgData name="Mullen (ESO), Paul J" userId="bf3d1d73-b4d7-4bb4-8793-c91dcec30622" providerId="ADAL" clId="{86235EAB-9231-440D-8DA0-9E611275FD2F}" dt="2021-10-17T21:04:22.987" v="1" actId="478"/>
          <ac:graphicFrameMkLst>
            <pc:docMk/>
            <pc:sldMk cId="1871922593" sldId="1438"/>
            <ac:graphicFrameMk id="5" creationId="{69CCDA93-5F31-4AD0-ACB1-0F5F6AFEA016}"/>
          </ac:graphicFrameMkLst>
        </pc:graphicFrameChg>
      </pc:sldChg>
      <pc:sldChg chg="modSp add mod">
        <pc:chgData name="Mullen (ESO), Paul J" userId="bf3d1d73-b4d7-4bb4-8793-c91dcec30622" providerId="ADAL" clId="{86235EAB-9231-440D-8DA0-9E611275FD2F}" dt="2021-10-18T07:13:52.730" v="1655" actId="20577"/>
        <pc:sldMkLst>
          <pc:docMk/>
          <pc:sldMk cId="926587455" sldId="1439"/>
        </pc:sldMkLst>
        <pc:spChg chg="mod">
          <ac:chgData name="Mullen (ESO), Paul J" userId="bf3d1d73-b4d7-4bb4-8793-c91dcec30622" providerId="ADAL" clId="{86235EAB-9231-440D-8DA0-9E611275FD2F}" dt="2021-10-18T07:13:52.730" v="1655" actId="20577"/>
          <ac:spMkLst>
            <pc:docMk/>
            <pc:sldMk cId="926587455" sldId="1439"/>
            <ac:spMk id="3" creationId="{A988FD65-247D-4210-B048-12258ADD0D92}"/>
          </ac:spMkLst>
        </pc:spChg>
      </pc:sldChg>
      <pc:sldChg chg="add del">
        <pc:chgData name="Mullen (ESO), Paul J" userId="bf3d1d73-b4d7-4bb4-8793-c91dcec30622" providerId="ADAL" clId="{86235EAB-9231-440D-8DA0-9E611275FD2F}" dt="2021-10-18T07:14:58.371" v="1666" actId="47"/>
        <pc:sldMkLst>
          <pc:docMk/>
          <pc:sldMk cId="1885509546" sldId="1440"/>
        </pc:sldMkLst>
      </pc:sldChg>
    </pc:docChg>
  </pc:docChgLst>
  <pc:docChgLst>
    <pc:chgData name="Mullen (ESO), Paul J" userId="bf3d1d73-b4d7-4bb4-8793-c91dcec30622" providerId="ADAL" clId="{152058AA-59A5-4801-B44F-5DC5757E4830}"/>
    <pc:docChg chg="undo custSel addSld modSld">
      <pc:chgData name="Mullen (ESO), Paul J" userId="bf3d1d73-b4d7-4bb4-8793-c91dcec30622" providerId="ADAL" clId="{152058AA-59A5-4801-B44F-5DC5757E4830}" dt="2021-10-28T10:43:33.404" v="4" actId="20577"/>
      <pc:docMkLst>
        <pc:docMk/>
      </pc:docMkLst>
      <pc:sldChg chg="add">
        <pc:chgData name="Mullen (ESO), Paul J" userId="bf3d1d73-b4d7-4bb4-8793-c91dcec30622" providerId="ADAL" clId="{152058AA-59A5-4801-B44F-5DC5757E4830}" dt="2021-10-28T07:15:49.601" v="0"/>
        <pc:sldMkLst>
          <pc:docMk/>
          <pc:sldMk cId="1803524852" sldId="277"/>
        </pc:sldMkLst>
      </pc:sldChg>
      <pc:sldChg chg="modSp mod">
        <pc:chgData name="Mullen (ESO), Paul J" userId="bf3d1d73-b4d7-4bb4-8793-c91dcec30622" providerId="ADAL" clId="{152058AA-59A5-4801-B44F-5DC5757E4830}" dt="2021-10-28T08:17:16.200" v="2" actId="14734"/>
        <pc:sldMkLst>
          <pc:docMk/>
          <pc:sldMk cId="1677954264" sldId="1126"/>
        </pc:sldMkLst>
        <pc:graphicFrameChg chg="modGraphic">
          <ac:chgData name="Mullen (ESO), Paul J" userId="bf3d1d73-b4d7-4bb4-8793-c91dcec30622" providerId="ADAL" clId="{152058AA-59A5-4801-B44F-5DC5757E4830}" dt="2021-10-28T08:17:16.200" v="2" actId="14734"/>
          <ac:graphicFrameMkLst>
            <pc:docMk/>
            <pc:sldMk cId="1677954264" sldId="1126"/>
            <ac:graphicFrameMk id="7" creationId="{7BE44EE5-25E9-49FA-BAC5-ED9CA495B1DD}"/>
          </ac:graphicFrameMkLst>
        </pc:graphicFrameChg>
      </pc:sldChg>
      <pc:sldChg chg="add">
        <pc:chgData name="Mullen (ESO), Paul J" userId="bf3d1d73-b4d7-4bb4-8793-c91dcec30622" providerId="ADAL" clId="{152058AA-59A5-4801-B44F-5DC5757E4830}" dt="2021-10-28T07:15:49.601" v="0"/>
        <pc:sldMkLst>
          <pc:docMk/>
          <pc:sldMk cId="3437897597" sldId="5943"/>
        </pc:sldMkLst>
      </pc:sldChg>
      <pc:sldChg chg="add">
        <pc:chgData name="Mullen (ESO), Paul J" userId="bf3d1d73-b4d7-4bb4-8793-c91dcec30622" providerId="ADAL" clId="{152058AA-59A5-4801-B44F-5DC5757E4830}" dt="2021-10-28T07:15:49.601" v="0"/>
        <pc:sldMkLst>
          <pc:docMk/>
          <pc:sldMk cId="2981969233" sldId="5946"/>
        </pc:sldMkLst>
      </pc:sldChg>
      <pc:sldChg chg="add">
        <pc:chgData name="Mullen (ESO), Paul J" userId="bf3d1d73-b4d7-4bb4-8793-c91dcec30622" providerId="ADAL" clId="{152058AA-59A5-4801-B44F-5DC5757E4830}" dt="2021-10-28T07:15:49.601" v="0"/>
        <pc:sldMkLst>
          <pc:docMk/>
          <pc:sldMk cId="834934378" sldId="5965"/>
        </pc:sldMkLst>
      </pc:sldChg>
      <pc:sldChg chg="add">
        <pc:chgData name="Mullen (ESO), Paul J" userId="bf3d1d73-b4d7-4bb4-8793-c91dcec30622" providerId="ADAL" clId="{152058AA-59A5-4801-B44F-5DC5757E4830}" dt="2021-10-28T07:15:49.601" v="0"/>
        <pc:sldMkLst>
          <pc:docMk/>
          <pc:sldMk cId="4002503111" sldId="5966"/>
        </pc:sldMkLst>
      </pc:sldChg>
      <pc:sldChg chg="add">
        <pc:chgData name="Mullen (ESO), Paul J" userId="bf3d1d73-b4d7-4bb4-8793-c91dcec30622" providerId="ADAL" clId="{152058AA-59A5-4801-B44F-5DC5757E4830}" dt="2021-10-28T07:15:49.601" v="0"/>
        <pc:sldMkLst>
          <pc:docMk/>
          <pc:sldMk cId="4154619028" sldId="5967"/>
        </pc:sldMkLst>
      </pc:sldChg>
      <pc:sldChg chg="add">
        <pc:chgData name="Mullen (ESO), Paul J" userId="bf3d1d73-b4d7-4bb4-8793-c91dcec30622" providerId="ADAL" clId="{152058AA-59A5-4801-B44F-5DC5757E4830}" dt="2021-10-28T07:15:49.601" v="0"/>
        <pc:sldMkLst>
          <pc:docMk/>
          <pc:sldMk cId="2587153484" sldId="5968"/>
        </pc:sldMkLst>
      </pc:sldChg>
      <pc:sldChg chg="add">
        <pc:chgData name="Mullen (ESO), Paul J" userId="bf3d1d73-b4d7-4bb4-8793-c91dcec30622" providerId="ADAL" clId="{152058AA-59A5-4801-B44F-5DC5757E4830}" dt="2021-10-28T07:15:49.601" v="0"/>
        <pc:sldMkLst>
          <pc:docMk/>
          <pc:sldMk cId="3359820781" sldId="5970"/>
        </pc:sldMkLst>
      </pc:sldChg>
      <pc:sldChg chg="add">
        <pc:chgData name="Mullen (ESO), Paul J" userId="bf3d1d73-b4d7-4bb4-8793-c91dcec30622" providerId="ADAL" clId="{152058AA-59A5-4801-B44F-5DC5757E4830}" dt="2021-10-28T07:15:49.601" v="0"/>
        <pc:sldMkLst>
          <pc:docMk/>
          <pc:sldMk cId="378423834" sldId="5971"/>
        </pc:sldMkLst>
      </pc:sldChg>
      <pc:sldChg chg="add">
        <pc:chgData name="Mullen (ESO), Paul J" userId="bf3d1d73-b4d7-4bb4-8793-c91dcec30622" providerId="ADAL" clId="{152058AA-59A5-4801-B44F-5DC5757E4830}" dt="2021-10-28T07:15:49.601" v="0"/>
        <pc:sldMkLst>
          <pc:docMk/>
          <pc:sldMk cId="2413491371" sldId="5972"/>
        </pc:sldMkLst>
      </pc:sldChg>
      <pc:sldChg chg="add">
        <pc:chgData name="Mullen (ESO), Paul J" userId="bf3d1d73-b4d7-4bb4-8793-c91dcec30622" providerId="ADAL" clId="{152058AA-59A5-4801-B44F-5DC5757E4830}" dt="2021-10-28T07:15:49.601" v="0"/>
        <pc:sldMkLst>
          <pc:docMk/>
          <pc:sldMk cId="3721304097" sldId="5973"/>
        </pc:sldMkLst>
      </pc:sldChg>
      <pc:sldChg chg="add">
        <pc:chgData name="Mullen (ESO), Paul J" userId="bf3d1d73-b4d7-4bb4-8793-c91dcec30622" providerId="ADAL" clId="{152058AA-59A5-4801-B44F-5DC5757E4830}" dt="2021-10-28T07:15:49.601" v="0"/>
        <pc:sldMkLst>
          <pc:docMk/>
          <pc:sldMk cId="2641996136" sldId="5974"/>
        </pc:sldMkLst>
      </pc:sldChg>
      <pc:sldChg chg="modSp add mod">
        <pc:chgData name="Mullen (ESO), Paul J" userId="bf3d1d73-b4d7-4bb4-8793-c91dcec30622" providerId="ADAL" clId="{152058AA-59A5-4801-B44F-5DC5757E4830}" dt="2021-10-28T10:43:33.404" v="4" actId="20577"/>
        <pc:sldMkLst>
          <pc:docMk/>
          <pc:sldMk cId="1388376587" sldId="5975"/>
        </pc:sldMkLst>
        <pc:spChg chg="mod">
          <ac:chgData name="Mullen (ESO), Paul J" userId="bf3d1d73-b4d7-4bb4-8793-c91dcec30622" providerId="ADAL" clId="{152058AA-59A5-4801-B44F-5DC5757E4830}" dt="2021-10-28T10:43:33.404" v="4" actId="20577"/>
          <ac:spMkLst>
            <pc:docMk/>
            <pc:sldMk cId="1388376587" sldId="5975"/>
            <ac:spMk id="4" creationId="{398245BE-8DBC-429A-90B7-067E6E08E029}"/>
          </ac:spMkLst>
        </pc:spChg>
      </pc:sldChg>
      <pc:sldChg chg="add">
        <pc:chgData name="Mullen (ESO), Paul J" userId="bf3d1d73-b4d7-4bb4-8793-c91dcec30622" providerId="ADAL" clId="{152058AA-59A5-4801-B44F-5DC5757E4830}" dt="2021-10-28T07:15:49.601" v="0"/>
        <pc:sldMkLst>
          <pc:docMk/>
          <pc:sldMk cId="1514878141" sldId="5976"/>
        </pc:sldMkLst>
      </pc:sldChg>
      <pc:sldChg chg="add">
        <pc:chgData name="Mullen (ESO), Paul J" userId="bf3d1d73-b4d7-4bb4-8793-c91dcec30622" providerId="ADAL" clId="{152058AA-59A5-4801-B44F-5DC5757E4830}" dt="2021-10-28T07:15:49.601" v="0"/>
        <pc:sldMkLst>
          <pc:docMk/>
          <pc:sldMk cId="1334503746" sldId="5977"/>
        </pc:sldMkLst>
      </pc:sldChg>
      <pc:sldChg chg="add">
        <pc:chgData name="Mullen (ESO), Paul J" userId="bf3d1d73-b4d7-4bb4-8793-c91dcec30622" providerId="ADAL" clId="{152058AA-59A5-4801-B44F-5DC5757E4830}" dt="2021-10-28T07:15:49.601" v="0"/>
        <pc:sldMkLst>
          <pc:docMk/>
          <pc:sldMk cId="2441243760" sldId="5978"/>
        </pc:sldMkLst>
      </pc:sldChg>
      <pc:sldChg chg="add">
        <pc:chgData name="Mullen (ESO), Paul J" userId="bf3d1d73-b4d7-4bb4-8793-c91dcec30622" providerId="ADAL" clId="{152058AA-59A5-4801-B44F-5DC5757E4830}" dt="2021-10-28T07:15:49.601" v="0"/>
        <pc:sldMkLst>
          <pc:docMk/>
          <pc:sldMk cId="1237449129" sldId="5979"/>
        </pc:sldMkLst>
      </pc:sldChg>
      <pc:sldChg chg="add">
        <pc:chgData name="Mullen (ESO), Paul J" userId="bf3d1d73-b4d7-4bb4-8793-c91dcec30622" providerId="ADAL" clId="{152058AA-59A5-4801-B44F-5DC5757E4830}" dt="2021-10-28T07:15:49.601" v="0"/>
        <pc:sldMkLst>
          <pc:docMk/>
          <pc:sldMk cId="3615477132" sldId="5980"/>
        </pc:sldMkLst>
      </pc:sldChg>
    </pc:docChg>
  </pc:docChgLst>
  <pc:docChgLst>
    <pc:chgData name="Mullen (ESO), Paul J" userId="bf3d1d73-b4d7-4bb4-8793-c91dcec30622" providerId="ADAL" clId="{C646F5A8-43C4-4AB9-A67B-E7CCECF64720}"/>
    <pc:docChg chg="undo custSel addSld delSld modSld delMainMaster">
      <pc:chgData name="Mullen (ESO), Paul J" userId="bf3d1d73-b4d7-4bb4-8793-c91dcec30622" providerId="ADAL" clId="{C646F5A8-43C4-4AB9-A67B-E7CCECF64720}" dt="2021-08-12T12:09:55.389" v="158" actId="20577"/>
      <pc:docMkLst>
        <pc:docMk/>
      </pc:docMkLst>
      <pc:sldChg chg="modSp">
        <pc:chgData name="Mullen (ESO), Paul J" userId="bf3d1d73-b4d7-4bb4-8793-c91dcec30622" providerId="ADAL" clId="{C646F5A8-43C4-4AB9-A67B-E7CCECF64720}" dt="2021-08-07T19:52:24.693" v="55" actId="6549"/>
        <pc:sldMkLst>
          <pc:docMk/>
          <pc:sldMk cId="4166818921" sldId="259"/>
        </pc:sldMkLst>
        <pc:spChg chg="mod">
          <ac:chgData name="Mullen (ESO), Paul J" userId="bf3d1d73-b4d7-4bb4-8793-c91dcec30622" providerId="ADAL" clId="{C646F5A8-43C4-4AB9-A67B-E7CCECF64720}" dt="2021-08-07T19:52:09.916" v="15" actId="20577"/>
          <ac:spMkLst>
            <pc:docMk/>
            <pc:sldMk cId="4166818921" sldId="259"/>
            <ac:spMk id="4" creationId="{239D8572-4B80-43C0-A793-A677B76538B7}"/>
          </ac:spMkLst>
        </pc:spChg>
        <pc:spChg chg="mod">
          <ac:chgData name="Mullen (ESO), Paul J" userId="bf3d1d73-b4d7-4bb4-8793-c91dcec30622" providerId="ADAL" clId="{C646F5A8-43C4-4AB9-A67B-E7CCECF64720}" dt="2021-08-07T19:52:24.693" v="55" actId="6549"/>
          <ac:spMkLst>
            <pc:docMk/>
            <pc:sldMk cId="4166818921" sldId="259"/>
            <ac:spMk id="5" creationId="{4FBA6ABF-CE97-446E-AFED-BDC24A2E4D0F}"/>
          </ac:spMkLst>
        </pc:spChg>
      </pc:sldChg>
      <pc:sldChg chg="modSp add">
        <pc:chgData name="Mullen (ESO), Paul J" userId="bf3d1d73-b4d7-4bb4-8793-c91dcec30622" providerId="ADAL" clId="{C646F5A8-43C4-4AB9-A67B-E7CCECF64720}" dt="2021-08-07T19:55:56.588" v="79" actId="13926"/>
        <pc:sldMkLst>
          <pc:docMk/>
          <pc:sldMk cId="2766278208" sldId="1128"/>
        </pc:sldMkLst>
        <pc:graphicFrameChg chg="modGraphic">
          <ac:chgData name="Mullen (ESO), Paul J" userId="bf3d1d73-b4d7-4bb4-8793-c91dcec30622" providerId="ADAL" clId="{C646F5A8-43C4-4AB9-A67B-E7CCECF64720}" dt="2021-08-07T19:55:56.588" v="79" actId="13926"/>
          <ac:graphicFrameMkLst>
            <pc:docMk/>
            <pc:sldMk cId="2766278208" sldId="1128"/>
            <ac:graphicFrameMk id="7" creationId="{7BE44EE5-25E9-49FA-BAC5-ED9CA495B1DD}"/>
          </ac:graphicFrameMkLst>
        </pc:graphicFrameChg>
      </pc:sldChg>
      <pc:sldChg chg="modSp">
        <pc:chgData name="Mullen (ESO), Paul J" userId="bf3d1d73-b4d7-4bb4-8793-c91dcec30622" providerId="ADAL" clId="{C646F5A8-43C4-4AB9-A67B-E7CCECF64720}" dt="2021-08-12T12:09:55.389" v="158" actId="20577"/>
        <pc:sldMkLst>
          <pc:docMk/>
          <pc:sldMk cId="2331349124" sldId="1398"/>
        </pc:sldMkLst>
        <pc:spChg chg="mod">
          <ac:chgData name="Mullen (ESO), Paul J" userId="bf3d1d73-b4d7-4bb4-8793-c91dcec30622" providerId="ADAL" clId="{C646F5A8-43C4-4AB9-A67B-E7CCECF64720}" dt="2021-08-07T19:58:48.931" v="110" actId="6549"/>
          <ac:spMkLst>
            <pc:docMk/>
            <pc:sldMk cId="2331349124" sldId="1398"/>
            <ac:spMk id="4" creationId="{00000000-0000-0000-0000-000000000000}"/>
          </ac:spMkLst>
        </pc:spChg>
        <pc:graphicFrameChg chg="mod">
          <ac:chgData name="Mullen (ESO), Paul J" userId="bf3d1d73-b4d7-4bb4-8793-c91dcec30622" providerId="ADAL" clId="{C646F5A8-43C4-4AB9-A67B-E7CCECF64720}" dt="2021-08-12T12:09:55.389" v="158" actId="20577"/>
          <ac:graphicFrameMkLst>
            <pc:docMk/>
            <pc:sldMk cId="2331349124" sldId="1398"/>
            <ac:graphicFrameMk id="5" creationId="{69CCDA93-5F31-4AD0-ACB1-0F5F6AFEA016}"/>
          </ac:graphicFrameMkLst>
        </pc:graphicFrameChg>
      </pc:sldChg>
      <pc:sldChg chg="modSp">
        <pc:chgData name="Mullen (ESO), Paul J" userId="bf3d1d73-b4d7-4bb4-8793-c91dcec30622" providerId="ADAL" clId="{C646F5A8-43C4-4AB9-A67B-E7CCECF64720}" dt="2021-08-07T19:58:55.103" v="111"/>
        <pc:sldMkLst>
          <pc:docMk/>
          <pc:sldMk cId="4069766144" sldId="1399"/>
        </pc:sldMkLst>
        <pc:spChg chg="mod">
          <ac:chgData name="Mullen (ESO), Paul J" userId="bf3d1d73-b4d7-4bb4-8793-c91dcec30622" providerId="ADAL" clId="{C646F5A8-43C4-4AB9-A67B-E7CCECF64720}" dt="2021-08-07T19:58:55.103" v="111"/>
          <ac:spMkLst>
            <pc:docMk/>
            <pc:sldMk cId="4069766144" sldId="1399"/>
            <ac:spMk id="4" creationId="{00000000-0000-0000-0000-000000000000}"/>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0A7DA34-E0F4-49E9-ABAE-4BD5664C92C1}" type="doc">
      <dgm:prSet loTypeId="urn:microsoft.com/office/officeart/2005/8/layout/process1" loCatId="process" qsTypeId="urn:microsoft.com/office/officeart/2005/8/quickstyle/simple1" qsCatId="simple" csTypeId="urn:microsoft.com/office/officeart/2005/8/colors/accent1_2" csCatId="accent1" phldr="1"/>
      <dgm:spPr/>
      <dgm:t>
        <a:bodyPr/>
        <a:lstStyle/>
        <a:p>
          <a:endParaRPr lang="en-GB"/>
        </a:p>
      </dgm:t>
    </dgm:pt>
    <dgm:pt modelId="{8D338DCF-9C9E-4353-89EF-2A13516DC660}">
      <dgm:prSet custT="1"/>
      <dgm:spPr>
        <a:solidFill>
          <a:schemeClr val="accent2"/>
        </a:solidFill>
      </dgm:spPr>
      <dgm:t>
        <a:bodyPr/>
        <a:lstStyle/>
        <a:p>
          <a:pPr algn="l"/>
          <a:r>
            <a:rPr lang="en-GB" sz="1800" b="1" dirty="0">
              <a:latin typeface="Arial" panose="020B0604020202020204" pitchFamily="34" charset="0"/>
              <a:cs typeface="Arial" panose="020B0604020202020204" pitchFamily="34" charset="0"/>
            </a:rPr>
            <a:t>Stage 1 – Alternative Vote</a:t>
          </a:r>
          <a:endParaRPr lang="en-GB" sz="1800" dirty="0">
            <a:latin typeface="Arial" panose="020B0604020202020204" pitchFamily="34" charset="0"/>
            <a:cs typeface="Arial" panose="020B0604020202020204" pitchFamily="34" charset="0"/>
          </a:endParaRPr>
        </a:p>
      </dgm:t>
    </dgm:pt>
    <dgm:pt modelId="{52AF2511-3B5B-4CB4-A896-7EE963D045E0}" type="parTrans" cxnId="{1A6F7649-AFC6-4BF3-857A-A0B1D11E29A0}">
      <dgm:prSet/>
      <dgm:spPr/>
      <dgm:t>
        <a:bodyPr/>
        <a:lstStyle/>
        <a:p>
          <a:endParaRPr lang="en-GB"/>
        </a:p>
      </dgm:t>
    </dgm:pt>
    <dgm:pt modelId="{26E955E0-94CD-41CE-8742-AAC1A25AA9C9}" type="sibTrans" cxnId="{1A6F7649-AFC6-4BF3-857A-A0B1D11E29A0}">
      <dgm:prSet/>
      <dgm:spPr/>
      <dgm:t>
        <a:bodyPr/>
        <a:lstStyle/>
        <a:p>
          <a:endParaRPr lang="en-GB"/>
        </a:p>
      </dgm:t>
    </dgm:pt>
    <dgm:pt modelId="{F2A29648-4DD9-45FD-8828-3430F209C2D5}">
      <dgm:prSet custT="1"/>
      <dgm:spPr>
        <a:solidFill>
          <a:schemeClr val="accent2"/>
        </a:solidFill>
      </dgm:spPr>
      <dgm:t>
        <a:bodyPr/>
        <a:lstStyle/>
        <a:p>
          <a:pPr algn="just"/>
          <a:r>
            <a:rPr lang="en-GB" sz="1800" i="0" dirty="0">
              <a:latin typeface="Arial" panose="020B0604020202020204" pitchFamily="34" charset="0"/>
              <a:cs typeface="Arial" panose="020B0604020202020204" pitchFamily="34" charset="0"/>
            </a:rPr>
            <a:t>Vote on whether Workgroup Alternative Requests should  become Workgroup Alternative CUSC Modifications.</a:t>
          </a:r>
        </a:p>
      </dgm:t>
    </dgm:pt>
    <dgm:pt modelId="{F1B310FC-9C3D-47E0-94D0-776CB7667A2A}" type="parTrans" cxnId="{E5AFC345-A1D0-4C8A-A31F-BF550437886C}">
      <dgm:prSet/>
      <dgm:spPr/>
      <dgm:t>
        <a:bodyPr/>
        <a:lstStyle/>
        <a:p>
          <a:endParaRPr lang="en-GB"/>
        </a:p>
      </dgm:t>
    </dgm:pt>
    <dgm:pt modelId="{E4EBAA12-6D2C-4999-B625-B8046A284E9B}" type="sibTrans" cxnId="{E5AFC345-A1D0-4C8A-A31F-BF550437886C}">
      <dgm:prSet/>
      <dgm:spPr/>
      <dgm:t>
        <a:bodyPr/>
        <a:lstStyle/>
        <a:p>
          <a:endParaRPr lang="en-GB"/>
        </a:p>
      </dgm:t>
    </dgm:pt>
    <dgm:pt modelId="{D7EA3D20-E990-47CF-AE39-551CC8E2AD8A}">
      <dgm:prSet custT="1"/>
      <dgm:spPr>
        <a:solidFill>
          <a:schemeClr val="accent2"/>
        </a:solidFill>
      </dgm:spPr>
      <dgm:t>
        <a:bodyPr/>
        <a:lstStyle/>
        <a:p>
          <a:pPr algn="just"/>
          <a:r>
            <a:rPr lang="en-GB" sz="1800" i="0" dirty="0">
              <a:latin typeface="Arial" panose="020B0604020202020204" pitchFamily="34" charset="0"/>
              <a:cs typeface="Arial" panose="020B0604020202020204" pitchFamily="34" charset="0"/>
            </a:rPr>
            <a:t>The Alternative vote is carried out to identify the level of Workgroup support there is for any potential alternative options that have been brought forward by either any member of the Workgroup OR an Industry Participant as part of the Workgroup Consultation. </a:t>
          </a:r>
        </a:p>
      </dgm:t>
    </dgm:pt>
    <dgm:pt modelId="{149F12D5-4EC4-44BE-ACCF-FD63051960C9}" type="parTrans" cxnId="{C20E2DA5-8388-4C11-802C-1C4BB58CD3B8}">
      <dgm:prSet/>
      <dgm:spPr/>
      <dgm:t>
        <a:bodyPr/>
        <a:lstStyle/>
        <a:p>
          <a:endParaRPr lang="en-GB"/>
        </a:p>
      </dgm:t>
    </dgm:pt>
    <dgm:pt modelId="{1D4DE24B-D236-47E3-9F3B-AE551584C17D}" type="sibTrans" cxnId="{C20E2DA5-8388-4C11-802C-1C4BB58CD3B8}">
      <dgm:prSet/>
      <dgm:spPr/>
      <dgm:t>
        <a:bodyPr/>
        <a:lstStyle/>
        <a:p>
          <a:endParaRPr lang="en-GB"/>
        </a:p>
      </dgm:t>
    </dgm:pt>
    <dgm:pt modelId="{EB764CA9-2056-4AA2-9BA8-F2302CD9A0E5}">
      <dgm:prSet custT="1"/>
      <dgm:spPr>
        <a:solidFill>
          <a:schemeClr val="accent2"/>
        </a:solidFill>
      </dgm:spPr>
      <dgm:t>
        <a:bodyPr/>
        <a:lstStyle/>
        <a:p>
          <a:pPr algn="just"/>
          <a:r>
            <a:rPr lang="en-GB" sz="1800" b="1" i="0" dirty="0">
              <a:latin typeface="Arial" panose="020B0604020202020204" pitchFamily="34" charset="0"/>
              <a:cs typeface="Arial" panose="020B0604020202020204" pitchFamily="34" charset="0"/>
            </a:rPr>
            <a:t>Should the majority of the Workgroup OR the Chair believe that the potential alternative solution may better facilitate the CUSC objectives than the Original then the potential alternative will be fully developed by the Workgroup with legal text to form a Workgroup Alternative CUSC modification (WACM)</a:t>
          </a:r>
          <a:r>
            <a:rPr lang="en-GB" sz="1800" i="0" dirty="0">
              <a:latin typeface="Arial" panose="020B0604020202020204" pitchFamily="34" charset="0"/>
              <a:cs typeface="Arial" panose="020B0604020202020204" pitchFamily="34" charset="0"/>
            </a:rPr>
            <a:t> and submitted to the Panel and Authority alongside the Original solution for the Panel Recommendation vote and the Authority decision. </a:t>
          </a:r>
        </a:p>
      </dgm:t>
    </dgm:pt>
    <dgm:pt modelId="{7720E244-580F-4C01-9CFC-DB9FDCE34B6C}" type="parTrans" cxnId="{0C603233-A277-4C17-BF1E-F8B6C481BAF7}">
      <dgm:prSet/>
      <dgm:spPr/>
      <dgm:t>
        <a:bodyPr/>
        <a:lstStyle/>
        <a:p>
          <a:endParaRPr lang="en-GB"/>
        </a:p>
      </dgm:t>
    </dgm:pt>
    <dgm:pt modelId="{504FBD7D-68C5-42D8-9D21-F3573A275A53}" type="sibTrans" cxnId="{0C603233-A277-4C17-BF1E-F8B6C481BAF7}">
      <dgm:prSet/>
      <dgm:spPr/>
      <dgm:t>
        <a:bodyPr/>
        <a:lstStyle/>
        <a:p>
          <a:endParaRPr lang="en-GB"/>
        </a:p>
      </dgm:t>
    </dgm:pt>
    <dgm:pt modelId="{A9E96A6A-F259-4A58-AE55-4FDAC0B7E81D}">
      <dgm:prSet custT="1"/>
      <dgm:spPr>
        <a:solidFill>
          <a:schemeClr val="accent2"/>
        </a:solidFill>
      </dgm:spPr>
      <dgm:t>
        <a:bodyPr/>
        <a:lstStyle/>
        <a:p>
          <a:pPr algn="just"/>
          <a:endParaRPr lang="en-GB" sz="1800" i="0" dirty="0">
            <a:latin typeface="Arial" panose="020B0604020202020204" pitchFamily="34" charset="0"/>
            <a:cs typeface="Arial" panose="020B0604020202020204" pitchFamily="34" charset="0"/>
          </a:endParaRPr>
        </a:p>
      </dgm:t>
    </dgm:pt>
    <dgm:pt modelId="{16E2C863-308B-4655-9725-6E32D8D17126}" type="parTrans" cxnId="{36233190-4D30-41A2-B999-2E072E4A7814}">
      <dgm:prSet/>
      <dgm:spPr/>
      <dgm:t>
        <a:bodyPr/>
        <a:lstStyle/>
        <a:p>
          <a:endParaRPr lang="en-GB"/>
        </a:p>
      </dgm:t>
    </dgm:pt>
    <dgm:pt modelId="{09385F22-51CD-4655-BAD9-696AA3198FA7}" type="sibTrans" cxnId="{36233190-4D30-41A2-B999-2E072E4A7814}">
      <dgm:prSet/>
      <dgm:spPr/>
      <dgm:t>
        <a:bodyPr/>
        <a:lstStyle/>
        <a:p>
          <a:endParaRPr lang="en-GB"/>
        </a:p>
      </dgm:t>
    </dgm:pt>
    <dgm:pt modelId="{E9B048F4-C1DB-4831-A6C6-94D8740891AD}">
      <dgm:prSet custT="1"/>
      <dgm:spPr>
        <a:solidFill>
          <a:schemeClr val="accent2"/>
        </a:solidFill>
      </dgm:spPr>
      <dgm:t>
        <a:bodyPr/>
        <a:lstStyle/>
        <a:p>
          <a:pPr algn="just"/>
          <a:endParaRPr lang="en-GB" sz="1800" dirty="0">
            <a:latin typeface="Arial" panose="020B0604020202020204" pitchFamily="34" charset="0"/>
            <a:cs typeface="Arial" panose="020B0604020202020204" pitchFamily="34" charset="0"/>
          </a:endParaRPr>
        </a:p>
      </dgm:t>
    </dgm:pt>
    <dgm:pt modelId="{B6A293E0-46B9-4F07-8848-EE0A945BDDB0}" type="parTrans" cxnId="{6AE5655F-046A-4CA7-AF6C-F0AB73DBF5E3}">
      <dgm:prSet/>
      <dgm:spPr/>
      <dgm:t>
        <a:bodyPr/>
        <a:lstStyle/>
        <a:p>
          <a:endParaRPr lang="en-GB"/>
        </a:p>
      </dgm:t>
    </dgm:pt>
    <dgm:pt modelId="{FA56BAEE-B2CE-48EC-9C8C-FD8BB803EDB8}" type="sibTrans" cxnId="{6AE5655F-046A-4CA7-AF6C-F0AB73DBF5E3}">
      <dgm:prSet/>
      <dgm:spPr/>
      <dgm:t>
        <a:bodyPr/>
        <a:lstStyle/>
        <a:p>
          <a:endParaRPr lang="en-GB"/>
        </a:p>
      </dgm:t>
    </dgm:pt>
    <dgm:pt modelId="{BA6DE9BE-799B-4BD7-91BC-CF8021DB9B3E}" type="pres">
      <dgm:prSet presAssocID="{C0A7DA34-E0F4-49E9-ABAE-4BD5664C92C1}" presName="Name0" presStyleCnt="0">
        <dgm:presLayoutVars>
          <dgm:dir/>
          <dgm:resizeHandles val="exact"/>
        </dgm:presLayoutVars>
      </dgm:prSet>
      <dgm:spPr/>
    </dgm:pt>
    <dgm:pt modelId="{8F0E510A-4BF3-4138-BB21-F5BFFE70CBE3}" type="pres">
      <dgm:prSet presAssocID="{8D338DCF-9C9E-4353-89EF-2A13516DC660}" presName="node" presStyleLbl="node1" presStyleIdx="0" presStyleCnt="1" custLinFactNeighborX="-698" custLinFactNeighborY="33618">
        <dgm:presLayoutVars>
          <dgm:bulletEnabled val="1"/>
        </dgm:presLayoutVars>
      </dgm:prSet>
      <dgm:spPr/>
    </dgm:pt>
  </dgm:ptLst>
  <dgm:cxnLst>
    <dgm:cxn modelId="{CC6A4207-66AB-4220-86F5-44D0E0D2E82A}" type="presOf" srcId="{A9E96A6A-F259-4A58-AE55-4FDAC0B7E81D}" destId="{8F0E510A-4BF3-4138-BB21-F5BFFE70CBE3}" srcOrd="0" destOrd="2" presId="urn:microsoft.com/office/officeart/2005/8/layout/process1"/>
    <dgm:cxn modelId="{72247224-2442-46AC-8325-10ACAF17A7FE}" type="presOf" srcId="{EB764CA9-2056-4AA2-9BA8-F2302CD9A0E5}" destId="{8F0E510A-4BF3-4138-BB21-F5BFFE70CBE3}" srcOrd="0" destOrd="5" presId="urn:microsoft.com/office/officeart/2005/8/layout/process1"/>
    <dgm:cxn modelId="{0C603233-A277-4C17-BF1E-F8B6C481BAF7}" srcId="{8D338DCF-9C9E-4353-89EF-2A13516DC660}" destId="{EB764CA9-2056-4AA2-9BA8-F2302CD9A0E5}" srcOrd="4" destOrd="0" parTransId="{7720E244-580F-4C01-9CFC-DB9FDCE34B6C}" sibTransId="{504FBD7D-68C5-42D8-9D21-F3573A275A53}"/>
    <dgm:cxn modelId="{6AE5655F-046A-4CA7-AF6C-F0AB73DBF5E3}" srcId="{8D338DCF-9C9E-4353-89EF-2A13516DC660}" destId="{E9B048F4-C1DB-4831-A6C6-94D8740891AD}" srcOrd="3" destOrd="0" parTransId="{B6A293E0-46B9-4F07-8848-EE0A945BDDB0}" sibTransId="{FA56BAEE-B2CE-48EC-9C8C-FD8BB803EDB8}"/>
    <dgm:cxn modelId="{E5AFC345-A1D0-4C8A-A31F-BF550437886C}" srcId="{8D338DCF-9C9E-4353-89EF-2A13516DC660}" destId="{F2A29648-4DD9-45FD-8828-3430F209C2D5}" srcOrd="0" destOrd="0" parTransId="{F1B310FC-9C3D-47E0-94D0-776CB7667A2A}" sibTransId="{E4EBAA12-6D2C-4999-B625-B8046A284E9B}"/>
    <dgm:cxn modelId="{1A6F7649-AFC6-4BF3-857A-A0B1D11E29A0}" srcId="{C0A7DA34-E0F4-49E9-ABAE-4BD5664C92C1}" destId="{8D338DCF-9C9E-4353-89EF-2A13516DC660}" srcOrd="0" destOrd="0" parTransId="{52AF2511-3B5B-4CB4-A896-7EE963D045E0}" sibTransId="{26E955E0-94CD-41CE-8742-AAC1A25AA9C9}"/>
    <dgm:cxn modelId="{91FFDA72-F2AA-44C6-873E-F90ECD389A87}" type="presOf" srcId="{F2A29648-4DD9-45FD-8828-3430F209C2D5}" destId="{8F0E510A-4BF3-4138-BB21-F5BFFE70CBE3}" srcOrd="0" destOrd="1" presId="urn:microsoft.com/office/officeart/2005/8/layout/process1"/>
    <dgm:cxn modelId="{8D86C978-FBA5-486F-9FD4-669BC1B17834}" type="presOf" srcId="{C0A7DA34-E0F4-49E9-ABAE-4BD5664C92C1}" destId="{BA6DE9BE-799B-4BD7-91BC-CF8021DB9B3E}" srcOrd="0" destOrd="0" presId="urn:microsoft.com/office/officeart/2005/8/layout/process1"/>
    <dgm:cxn modelId="{D9BB0E8B-98B3-47EF-9FA4-655EF1F0FEF9}" type="presOf" srcId="{E9B048F4-C1DB-4831-A6C6-94D8740891AD}" destId="{8F0E510A-4BF3-4138-BB21-F5BFFE70CBE3}" srcOrd="0" destOrd="4" presId="urn:microsoft.com/office/officeart/2005/8/layout/process1"/>
    <dgm:cxn modelId="{36233190-4D30-41A2-B999-2E072E4A7814}" srcId="{8D338DCF-9C9E-4353-89EF-2A13516DC660}" destId="{A9E96A6A-F259-4A58-AE55-4FDAC0B7E81D}" srcOrd="1" destOrd="0" parTransId="{16E2C863-308B-4655-9725-6E32D8D17126}" sibTransId="{09385F22-51CD-4655-BAD9-696AA3198FA7}"/>
    <dgm:cxn modelId="{C20E2DA5-8388-4C11-802C-1C4BB58CD3B8}" srcId="{8D338DCF-9C9E-4353-89EF-2A13516DC660}" destId="{D7EA3D20-E990-47CF-AE39-551CC8E2AD8A}" srcOrd="2" destOrd="0" parTransId="{149F12D5-4EC4-44BE-ACCF-FD63051960C9}" sibTransId="{1D4DE24B-D236-47E3-9F3B-AE551584C17D}"/>
    <dgm:cxn modelId="{4EACB3BD-B8BF-4783-85A8-90639A723AF7}" type="presOf" srcId="{8D338DCF-9C9E-4353-89EF-2A13516DC660}" destId="{8F0E510A-4BF3-4138-BB21-F5BFFE70CBE3}" srcOrd="0" destOrd="0" presId="urn:microsoft.com/office/officeart/2005/8/layout/process1"/>
    <dgm:cxn modelId="{190DF9D2-8886-4C7B-A36D-5031A0A483F0}" type="presOf" srcId="{D7EA3D20-E990-47CF-AE39-551CC8E2AD8A}" destId="{8F0E510A-4BF3-4138-BB21-F5BFFE70CBE3}" srcOrd="0" destOrd="3" presId="urn:microsoft.com/office/officeart/2005/8/layout/process1"/>
    <dgm:cxn modelId="{CC997437-5B76-4068-B280-B9682B8A41D0}" type="presParOf" srcId="{BA6DE9BE-799B-4BD7-91BC-CF8021DB9B3E}" destId="{8F0E510A-4BF3-4138-BB21-F5BFFE70CBE3}" srcOrd="0"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0A7DA34-E0F4-49E9-ABAE-4BD5664C92C1}" type="doc">
      <dgm:prSet loTypeId="urn:microsoft.com/office/officeart/2005/8/layout/process1" loCatId="process" qsTypeId="urn:microsoft.com/office/officeart/2005/8/quickstyle/simple1" qsCatId="simple" csTypeId="urn:microsoft.com/office/officeart/2005/8/colors/accent1_2" csCatId="accent1" phldr="1"/>
      <dgm:spPr/>
      <dgm:t>
        <a:bodyPr/>
        <a:lstStyle/>
        <a:p>
          <a:endParaRPr lang="en-GB"/>
        </a:p>
      </dgm:t>
    </dgm:pt>
    <dgm:pt modelId="{8D338DCF-9C9E-4353-89EF-2A13516DC660}">
      <dgm:prSet custT="1"/>
      <dgm:spPr>
        <a:solidFill>
          <a:schemeClr val="accent2"/>
        </a:solidFill>
      </dgm:spPr>
      <dgm:t>
        <a:bodyPr/>
        <a:lstStyle/>
        <a:p>
          <a:pPr algn="l"/>
          <a:r>
            <a:rPr lang="en-GB" sz="2000" b="1" dirty="0">
              <a:latin typeface="Arial" panose="020B0604020202020204" pitchFamily="34" charset="0"/>
              <a:cs typeface="Arial" panose="020B0604020202020204" pitchFamily="34" charset="0"/>
            </a:rPr>
            <a:t>Stage 2 – Workgroup Vote</a:t>
          </a:r>
          <a:endParaRPr lang="en-GB" sz="2000" dirty="0">
            <a:latin typeface="Arial" panose="020B0604020202020204" pitchFamily="34" charset="0"/>
            <a:cs typeface="Arial" panose="020B0604020202020204" pitchFamily="34" charset="0"/>
          </a:endParaRPr>
        </a:p>
      </dgm:t>
    </dgm:pt>
    <dgm:pt modelId="{52AF2511-3B5B-4CB4-A896-7EE963D045E0}" type="parTrans" cxnId="{1A6F7649-AFC6-4BF3-857A-A0B1D11E29A0}">
      <dgm:prSet/>
      <dgm:spPr/>
      <dgm:t>
        <a:bodyPr/>
        <a:lstStyle/>
        <a:p>
          <a:endParaRPr lang="en-GB"/>
        </a:p>
      </dgm:t>
    </dgm:pt>
    <dgm:pt modelId="{26E955E0-94CD-41CE-8742-AAC1A25AA9C9}" type="sibTrans" cxnId="{1A6F7649-AFC6-4BF3-857A-A0B1D11E29A0}">
      <dgm:prSet/>
      <dgm:spPr/>
      <dgm:t>
        <a:bodyPr/>
        <a:lstStyle/>
        <a:p>
          <a:endParaRPr lang="en-GB"/>
        </a:p>
      </dgm:t>
    </dgm:pt>
    <dgm:pt modelId="{3C3CA831-DA00-432C-9F99-7D7E870925C3}">
      <dgm:prSet custT="1"/>
      <dgm:spPr>
        <a:solidFill>
          <a:schemeClr val="accent2"/>
        </a:solidFill>
      </dgm:spPr>
      <dgm:t>
        <a:bodyPr/>
        <a:lstStyle/>
        <a:p>
          <a:pPr rtl="0"/>
          <a:r>
            <a:rPr lang="en-GB" sz="2000" dirty="0">
              <a:latin typeface="Arial"/>
              <a:cs typeface="Arial"/>
            </a:rPr>
            <a:t>2a) Assess the original and WACMs (if there are any) against the CUSC objectives compared to the baseline (the current CUSC)</a:t>
          </a:r>
        </a:p>
      </dgm:t>
    </dgm:pt>
    <dgm:pt modelId="{6B869A09-218B-4131-BD14-AA192B821E63}" type="parTrans" cxnId="{BF10A064-86DC-44F7-90D8-7939AA67779E}">
      <dgm:prSet/>
      <dgm:spPr/>
      <dgm:t>
        <a:bodyPr/>
        <a:lstStyle/>
        <a:p>
          <a:endParaRPr lang="en-GB"/>
        </a:p>
      </dgm:t>
    </dgm:pt>
    <dgm:pt modelId="{4E1EE13B-C97F-420A-9013-69BC24472AF0}" type="sibTrans" cxnId="{BF10A064-86DC-44F7-90D8-7939AA67779E}">
      <dgm:prSet/>
      <dgm:spPr/>
      <dgm:t>
        <a:bodyPr/>
        <a:lstStyle/>
        <a:p>
          <a:endParaRPr lang="en-GB"/>
        </a:p>
      </dgm:t>
    </dgm:pt>
    <dgm:pt modelId="{A38CF3BF-350F-44BA-B57E-02246C10E5D6}">
      <dgm:prSet custT="1"/>
      <dgm:spPr>
        <a:solidFill>
          <a:schemeClr val="accent2"/>
        </a:solidFill>
      </dgm:spPr>
      <dgm:t>
        <a:bodyPr/>
        <a:lstStyle/>
        <a:p>
          <a:pPr algn="l"/>
          <a:r>
            <a:rPr lang="en-GB" sz="2000" dirty="0">
              <a:latin typeface="Arial" panose="020B0604020202020204" pitchFamily="34" charset="0"/>
              <a:cs typeface="Arial" panose="020B0604020202020204" pitchFamily="34" charset="0"/>
            </a:rPr>
            <a:t>2b) Vote on which of the options is best.</a:t>
          </a:r>
          <a:endParaRPr lang="en-GB" sz="2000" b="1" dirty="0">
            <a:latin typeface="Arial" panose="020B0604020202020204" pitchFamily="34" charset="0"/>
            <a:cs typeface="Arial" panose="020B0604020202020204" pitchFamily="34" charset="0"/>
          </a:endParaRPr>
        </a:p>
        <a:p>
          <a:endParaRPr lang="en-GB" sz="2000" dirty="0">
            <a:latin typeface="Arial" panose="020B0604020202020204" pitchFamily="34" charset="0"/>
            <a:cs typeface="Arial" panose="020B0604020202020204" pitchFamily="34" charset="0"/>
          </a:endParaRPr>
        </a:p>
      </dgm:t>
    </dgm:pt>
    <dgm:pt modelId="{59B9DADC-5CCE-4B05-9DD5-9695464012D1}" type="parTrans" cxnId="{6E96751E-A60A-45F1-94B5-CCC63C624DC0}">
      <dgm:prSet/>
      <dgm:spPr/>
      <dgm:t>
        <a:bodyPr/>
        <a:lstStyle/>
        <a:p>
          <a:endParaRPr lang="en-GB"/>
        </a:p>
      </dgm:t>
    </dgm:pt>
    <dgm:pt modelId="{53B32937-25EF-40EE-9657-26F6281336B1}" type="sibTrans" cxnId="{6E96751E-A60A-45F1-94B5-CCC63C624DC0}">
      <dgm:prSet/>
      <dgm:spPr/>
      <dgm:t>
        <a:bodyPr/>
        <a:lstStyle/>
        <a:p>
          <a:endParaRPr lang="en-GB"/>
        </a:p>
      </dgm:t>
    </dgm:pt>
    <dgm:pt modelId="{BA6DE9BE-799B-4BD7-91BC-CF8021DB9B3E}" type="pres">
      <dgm:prSet presAssocID="{C0A7DA34-E0F4-49E9-ABAE-4BD5664C92C1}" presName="Name0" presStyleCnt="0">
        <dgm:presLayoutVars>
          <dgm:dir/>
          <dgm:resizeHandles val="exact"/>
        </dgm:presLayoutVars>
      </dgm:prSet>
      <dgm:spPr/>
    </dgm:pt>
    <dgm:pt modelId="{8F0E510A-4BF3-4138-BB21-F5BFFE70CBE3}" type="pres">
      <dgm:prSet presAssocID="{8D338DCF-9C9E-4353-89EF-2A13516DC660}" presName="node" presStyleLbl="node1" presStyleIdx="0" presStyleCnt="1" custLinFactNeighborX="-698" custLinFactNeighborY="33618">
        <dgm:presLayoutVars>
          <dgm:bulletEnabled val="1"/>
        </dgm:presLayoutVars>
      </dgm:prSet>
      <dgm:spPr/>
    </dgm:pt>
  </dgm:ptLst>
  <dgm:cxnLst>
    <dgm:cxn modelId="{6E96751E-A60A-45F1-94B5-CCC63C624DC0}" srcId="{8D338DCF-9C9E-4353-89EF-2A13516DC660}" destId="{A38CF3BF-350F-44BA-B57E-02246C10E5D6}" srcOrd="1" destOrd="0" parTransId="{59B9DADC-5CCE-4B05-9DD5-9695464012D1}" sibTransId="{53B32937-25EF-40EE-9657-26F6281336B1}"/>
    <dgm:cxn modelId="{56B52F24-4BCF-4892-AF8D-4485A565E485}" type="presOf" srcId="{3C3CA831-DA00-432C-9F99-7D7E870925C3}" destId="{8F0E510A-4BF3-4138-BB21-F5BFFE70CBE3}" srcOrd="0" destOrd="1" presId="urn:microsoft.com/office/officeart/2005/8/layout/process1"/>
    <dgm:cxn modelId="{BF10A064-86DC-44F7-90D8-7939AA67779E}" srcId="{8D338DCF-9C9E-4353-89EF-2A13516DC660}" destId="{3C3CA831-DA00-432C-9F99-7D7E870925C3}" srcOrd="0" destOrd="0" parTransId="{6B869A09-218B-4131-BD14-AA192B821E63}" sibTransId="{4E1EE13B-C97F-420A-9013-69BC24472AF0}"/>
    <dgm:cxn modelId="{1A6F7649-AFC6-4BF3-857A-A0B1D11E29A0}" srcId="{C0A7DA34-E0F4-49E9-ABAE-4BD5664C92C1}" destId="{8D338DCF-9C9E-4353-89EF-2A13516DC660}" srcOrd="0" destOrd="0" parTransId="{52AF2511-3B5B-4CB4-A896-7EE963D045E0}" sibTransId="{26E955E0-94CD-41CE-8742-AAC1A25AA9C9}"/>
    <dgm:cxn modelId="{8D86C978-FBA5-486F-9FD4-669BC1B17834}" type="presOf" srcId="{C0A7DA34-E0F4-49E9-ABAE-4BD5664C92C1}" destId="{BA6DE9BE-799B-4BD7-91BC-CF8021DB9B3E}" srcOrd="0" destOrd="0" presId="urn:microsoft.com/office/officeart/2005/8/layout/process1"/>
    <dgm:cxn modelId="{5E5D098A-F67E-41F3-85DF-F9441F551457}" type="presOf" srcId="{A38CF3BF-350F-44BA-B57E-02246C10E5D6}" destId="{8F0E510A-4BF3-4138-BB21-F5BFFE70CBE3}" srcOrd="0" destOrd="2" presId="urn:microsoft.com/office/officeart/2005/8/layout/process1"/>
    <dgm:cxn modelId="{4EACB3BD-B8BF-4783-85A8-90639A723AF7}" type="presOf" srcId="{8D338DCF-9C9E-4353-89EF-2A13516DC660}" destId="{8F0E510A-4BF3-4138-BB21-F5BFFE70CBE3}" srcOrd="0" destOrd="0" presId="urn:microsoft.com/office/officeart/2005/8/layout/process1"/>
    <dgm:cxn modelId="{CC997437-5B76-4068-B280-B9682B8A41D0}" type="presParOf" srcId="{BA6DE9BE-799B-4BD7-91BC-CF8021DB9B3E}" destId="{8F0E510A-4BF3-4138-BB21-F5BFFE70CBE3}" srcOrd="0"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0E510A-4BF3-4138-BB21-F5BFFE70CBE3}">
      <dsp:nvSpPr>
        <dsp:cNvPr id="0" name=""/>
        <dsp:cNvSpPr/>
      </dsp:nvSpPr>
      <dsp:spPr>
        <a:xfrm>
          <a:off x="0" y="0"/>
          <a:ext cx="11339834" cy="3732028"/>
        </a:xfrm>
        <a:prstGeom prst="roundRect">
          <a:avLst>
            <a:gd name="adj" fmla="val 10000"/>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GB" sz="1800" b="1" kern="1200" dirty="0">
              <a:latin typeface="Arial" panose="020B0604020202020204" pitchFamily="34" charset="0"/>
              <a:cs typeface="Arial" panose="020B0604020202020204" pitchFamily="34" charset="0"/>
            </a:rPr>
            <a:t>Stage 1 – Alternative Vote</a:t>
          </a:r>
          <a:endParaRPr lang="en-GB" sz="1800" kern="1200" dirty="0">
            <a:latin typeface="Arial" panose="020B0604020202020204" pitchFamily="34" charset="0"/>
            <a:cs typeface="Arial" panose="020B0604020202020204" pitchFamily="34" charset="0"/>
          </a:endParaRPr>
        </a:p>
        <a:p>
          <a:pPr marL="171450" lvl="1" indent="-171450" algn="just" defTabSz="800100">
            <a:lnSpc>
              <a:spcPct val="90000"/>
            </a:lnSpc>
            <a:spcBef>
              <a:spcPct val="0"/>
            </a:spcBef>
            <a:spcAft>
              <a:spcPct val="15000"/>
            </a:spcAft>
            <a:buChar char="•"/>
          </a:pPr>
          <a:r>
            <a:rPr lang="en-GB" sz="1800" i="0" kern="1200" dirty="0">
              <a:latin typeface="Arial" panose="020B0604020202020204" pitchFamily="34" charset="0"/>
              <a:cs typeface="Arial" panose="020B0604020202020204" pitchFamily="34" charset="0"/>
            </a:rPr>
            <a:t>Vote on whether Workgroup Alternative Requests should  become Workgroup Alternative CUSC Modifications.</a:t>
          </a:r>
        </a:p>
        <a:p>
          <a:pPr marL="171450" lvl="1" indent="-171450" algn="just" defTabSz="800100">
            <a:lnSpc>
              <a:spcPct val="90000"/>
            </a:lnSpc>
            <a:spcBef>
              <a:spcPct val="0"/>
            </a:spcBef>
            <a:spcAft>
              <a:spcPct val="15000"/>
            </a:spcAft>
            <a:buChar char="•"/>
          </a:pPr>
          <a:endParaRPr lang="en-GB" sz="1800" i="0" kern="1200" dirty="0">
            <a:latin typeface="Arial" panose="020B0604020202020204" pitchFamily="34" charset="0"/>
            <a:cs typeface="Arial" panose="020B0604020202020204" pitchFamily="34" charset="0"/>
          </a:endParaRPr>
        </a:p>
        <a:p>
          <a:pPr marL="171450" lvl="1" indent="-171450" algn="just" defTabSz="800100">
            <a:lnSpc>
              <a:spcPct val="90000"/>
            </a:lnSpc>
            <a:spcBef>
              <a:spcPct val="0"/>
            </a:spcBef>
            <a:spcAft>
              <a:spcPct val="15000"/>
            </a:spcAft>
            <a:buChar char="•"/>
          </a:pPr>
          <a:r>
            <a:rPr lang="en-GB" sz="1800" i="0" kern="1200" dirty="0">
              <a:latin typeface="Arial" panose="020B0604020202020204" pitchFamily="34" charset="0"/>
              <a:cs typeface="Arial" panose="020B0604020202020204" pitchFamily="34" charset="0"/>
            </a:rPr>
            <a:t>The Alternative vote is carried out to identify the level of Workgroup support there is for any potential alternative options that have been brought forward by either any member of the Workgroup OR an Industry Participant as part of the Workgroup Consultation. </a:t>
          </a:r>
        </a:p>
        <a:p>
          <a:pPr marL="171450" lvl="1" indent="-171450" algn="just" defTabSz="800100">
            <a:lnSpc>
              <a:spcPct val="90000"/>
            </a:lnSpc>
            <a:spcBef>
              <a:spcPct val="0"/>
            </a:spcBef>
            <a:spcAft>
              <a:spcPct val="15000"/>
            </a:spcAft>
            <a:buChar char="•"/>
          </a:pPr>
          <a:endParaRPr lang="en-GB" sz="1800" kern="1200" dirty="0">
            <a:latin typeface="Arial" panose="020B0604020202020204" pitchFamily="34" charset="0"/>
            <a:cs typeface="Arial" panose="020B0604020202020204" pitchFamily="34" charset="0"/>
          </a:endParaRPr>
        </a:p>
        <a:p>
          <a:pPr marL="171450" lvl="1" indent="-171450" algn="just" defTabSz="800100">
            <a:lnSpc>
              <a:spcPct val="90000"/>
            </a:lnSpc>
            <a:spcBef>
              <a:spcPct val="0"/>
            </a:spcBef>
            <a:spcAft>
              <a:spcPct val="15000"/>
            </a:spcAft>
            <a:buChar char="•"/>
          </a:pPr>
          <a:r>
            <a:rPr lang="en-GB" sz="1800" b="1" i="0" kern="1200" dirty="0">
              <a:latin typeface="Arial" panose="020B0604020202020204" pitchFamily="34" charset="0"/>
              <a:cs typeface="Arial" panose="020B0604020202020204" pitchFamily="34" charset="0"/>
            </a:rPr>
            <a:t>Should the majority of the Workgroup OR the Chair believe that the potential alternative solution may better facilitate the CUSC objectives than the Original then the potential alternative will be fully developed by the Workgroup with legal text to form a Workgroup Alternative CUSC modification (WACM)</a:t>
          </a:r>
          <a:r>
            <a:rPr lang="en-GB" sz="1800" i="0" kern="1200" dirty="0">
              <a:latin typeface="Arial" panose="020B0604020202020204" pitchFamily="34" charset="0"/>
              <a:cs typeface="Arial" panose="020B0604020202020204" pitchFamily="34" charset="0"/>
            </a:rPr>
            <a:t> and submitted to the Panel and Authority alongside the Original solution for the Panel Recommendation vote and the Authority decision. </a:t>
          </a:r>
        </a:p>
      </dsp:txBody>
      <dsp:txXfrm>
        <a:off x="109307" y="109307"/>
        <a:ext cx="11121220" cy="351341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0E510A-4BF3-4138-BB21-F5BFFE70CBE3}">
      <dsp:nvSpPr>
        <dsp:cNvPr id="0" name=""/>
        <dsp:cNvSpPr/>
      </dsp:nvSpPr>
      <dsp:spPr>
        <a:xfrm>
          <a:off x="0" y="0"/>
          <a:ext cx="11339834" cy="3030280"/>
        </a:xfrm>
        <a:prstGeom prst="roundRect">
          <a:avLst>
            <a:gd name="adj" fmla="val 10000"/>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GB" sz="2000" b="1" kern="1200" dirty="0">
              <a:latin typeface="Arial" panose="020B0604020202020204" pitchFamily="34" charset="0"/>
              <a:cs typeface="Arial" panose="020B0604020202020204" pitchFamily="34" charset="0"/>
            </a:rPr>
            <a:t>Stage 2 – Workgroup Vote</a:t>
          </a:r>
          <a:endParaRPr lang="en-GB" sz="2000" kern="1200" dirty="0">
            <a:latin typeface="Arial" panose="020B0604020202020204" pitchFamily="34" charset="0"/>
            <a:cs typeface="Arial" panose="020B0604020202020204" pitchFamily="34" charset="0"/>
          </a:endParaRPr>
        </a:p>
        <a:p>
          <a:pPr marL="228600" lvl="1" indent="-228600" algn="l" defTabSz="889000" rtl="0">
            <a:lnSpc>
              <a:spcPct val="90000"/>
            </a:lnSpc>
            <a:spcBef>
              <a:spcPct val="0"/>
            </a:spcBef>
            <a:spcAft>
              <a:spcPct val="15000"/>
            </a:spcAft>
            <a:buChar char="•"/>
          </a:pPr>
          <a:r>
            <a:rPr lang="en-GB" sz="2000" kern="1200" dirty="0">
              <a:latin typeface="Arial"/>
              <a:cs typeface="Arial"/>
            </a:rPr>
            <a:t>2a) Assess the original and WACMs (if there are any) against the CUSC objectives compared to the baseline (the current CUSC)</a:t>
          </a:r>
        </a:p>
        <a:p>
          <a:pPr marL="228600" lvl="1" indent="-228600" algn="l" defTabSz="889000">
            <a:lnSpc>
              <a:spcPct val="90000"/>
            </a:lnSpc>
            <a:spcBef>
              <a:spcPct val="0"/>
            </a:spcBef>
            <a:spcAft>
              <a:spcPct val="15000"/>
            </a:spcAft>
            <a:buChar char="•"/>
          </a:pPr>
          <a:r>
            <a:rPr lang="en-GB" sz="2000" kern="1200" dirty="0">
              <a:latin typeface="Arial" panose="020B0604020202020204" pitchFamily="34" charset="0"/>
              <a:cs typeface="Arial" panose="020B0604020202020204" pitchFamily="34" charset="0"/>
            </a:rPr>
            <a:t>2b) Vote on which of the options is best.</a:t>
          </a:r>
          <a:endParaRPr lang="en-GB" sz="2000" b="1" kern="1200" dirty="0">
            <a:latin typeface="Arial" panose="020B0604020202020204" pitchFamily="34" charset="0"/>
            <a:cs typeface="Arial" panose="020B0604020202020204" pitchFamily="34" charset="0"/>
          </a:endParaRPr>
        </a:p>
        <a:p>
          <a:pPr marL="228600" lvl="1" indent="-228600" defTabSz="889000">
            <a:lnSpc>
              <a:spcPct val="90000"/>
            </a:lnSpc>
            <a:spcBef>
              <a:spcPct val="0"/>
            </a:spcBef>
            <a:spcAft>
              <a:spcPct val="15000"/>
            </a:spcAft>
            <a:buChar char="•"/>
          </a:pPr>
          <a:endParaRPr lang="en-GB" sz="2000" kern="1200" dirty="0">
            <a:latin typeface="Arial" panose="020B0604020202020204" pitchFamily="34" charset="0"/>
            <a:cs typeface="Arial" panose="020B0604020202020204" pitchFamily="34" charset="0"/>
          </a:endParaRPr>
        </a:p>
      </dsp:txBody>
      <dsp:txXfrm>
        <a:off x="88754" y="88754"/>
        <a:ext cx="11162326" cy="2852772"/>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7C5FC15-1CE8-0B43-8B80-417162D2E6F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5396DC26-95A5-8940-A79D-AF0EBC391E9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3A44258-D2F0-FD48-997E-DC1F2F174FC0}" type="datetimeFigureOut">
              <a:rPr lang="en-US" smtClean="0"/>
              <a:t>12/20/2021</a:t>
            </a:fld>
            <a:endParaRPr lang="en-US" dirty="0"/>
          </a:p>
        </p:txBody>
      </p:sp>
      <p:sp>
        <p:nvSpPr>
          <p:cNvPr id="4" name="Footer Placeholder 3">
            <a:extLst>
              <a:ext uri="{FF2B5EF4-FFF2-40B4-BE49-F238E27FC236}">
                <a16:creationId xmlns:a16="http://schemas.microsoft.com/office/drawing/2014/main" id="{5C45D5B0-EF1F-4049-AE11-F12F598628C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A9A0E71D-EE13-E446-8DC2-9087618116E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A7C8834-3968-D043-A9C1-2B3E3096FACD}" type="slidenum">
              <a:rPr lang="en-US" smtClean="0"/>
              <a:t>‹#›</a:t>
            </a:fld>
            <a:endParaRPr lang="en-US" dirty="0"/>
          </a:p>
        </p:txBody>
      </p:sp>
    </p:spTree>
    <p:extLst>
      <p:ext uri="{BB962C8B-B14F-4D97-AF65-F5344CB8AC3E}">
        <p14:creationId xmlns:p14="http://schemas.microsoft.com/office/powerpoint/2010/main" val="14931991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A2D0886-E6DD-294C-AA3E-B63E30F05A7E}" type="datetimeFigureOut">
              <a:rPr lang="en-US" smtClean="0"/>
              <a:t>12/20/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7B74334-5195-1F4B-B190-5A416FFA4340}" type="slidenum">
              <a:rPr lang="en-US" smtClean="0"/>
              <a:t>‹#›</a:t>
            </a:fld>
            <a:endParaRPr lang="en-US" dirty="0"/>
          </a:p>
        </p:txBody>
      </p:sp>
    </p:spTree>
    <p:extLst>
      <p:ext uri="{BB962C8B-B14F-4D97-AF65-F5344CB8AC3E}">
        <p14:creationId xmlns:p14="http://schemas.microsoft.com/office/powerpoint/2010/main" val="28130198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7B74334-5195-1F4B-B190-5A416FFA4340}" type="slidenum">
              <a:rPr lang="en-US" smtClean="0"/>
              <a:t>1</a:t>
            </a:fld>
            <a:endParaRPr lang="en-US" dirty="0"/>
          </a:p>
        </p:txBody>
      </p:sp>
    </p:spTree>
    <p:extLst>
      <p:ext uri="{BB962C8B-B14F-4D97-AF65-F5344CB8AC3E}">
        <p14:creationId xmlns:p14="http://schemas.microsoft.com/office/powerpoint/2010/main" val="31095885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1BA64E9-C399-45B2-A486-4FCB9E13C79C}" type="slidenum">
              <a:rPr kumimoji="0" lang="en-GB"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22492124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1BA64E9-C399-45B2-A486-4FCB9E13C79C}" type="slidenum">
              <a:rPr kumimoji="0" lang="en-GB"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16939302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1BA64E9-C399-45B2-A486-4FCB9E13C79C}" type="slidenum">
              <a:rPr kumimoji="0" lang="en-GB"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34236281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cs typeface="Calibri"/>
              </a:rPr>
              <a:t>We are on the “Refine Solution” phas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7B74334-5195-1F4B-B190-5A416FFA43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70564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GB" sz="1600" b="1" kern="1200" dirty="0">
                <a:solidFill>
                  <a:schemeClr val="tx1"/>
                </a:solidFill>
                <a:effectLst/>
                <a:latin typeface="Arial" panose="020B0604020202020204" pitchFamily="34" charset="0"/>
                <a:ea typeface="+mn-ea"/>
                <a:cs typeface="Arial" panose="020B0604020202020204" pitchFamily="34" charset="0"/>
              </a:rPr>
              <a:t>Workgroup </a:t>
            </a:r>
          </a:p>
          <a:p>
            <a:pPr lvl="0"/>
            <a:r>
              <a:rPr lang="en-GB" sz="1600" kern="1200" dirty="0">
                <a:solidFill>
                  <a:schemeClr val="tx1"/>
                </a:solidFill>
                <a:effectLst/>
                <a:latin typeface="Arial" panose="020B0604020202020204" pitchFamily="34" charset="0"/>
                <a:ea typeface="+mn-ea"/>
                <a:cs typeface="Arial" panose="020B0604020202020204" pitchFamily="34" charset="0"/>
              </a:rPr>
              <a:t>The proposal has identified an issue to solve and propose a solution to solve this issue.</a:t>
            </a:r>
          </a:p>
          <a:p>
            <a:pPr lvl="0"/>
            <a:endParaRPr lang="en-GB" sz="1600" kern="1200" dirty="0">
              <a:solidFill>
                <a:schemeClr val="tx1"/>
              </a:solidFill>
              <a:effectLst/>
              <a:latin typeface="Arial" panose="020B0604020202020204" pitchFamily="34" charset="0"/>
              <a:ea typeface="+mn-ea"/>
              <a:cs typeface="Arial" panose="020B0604020202020204" pitchFamily="34" charset="0"/>
            </a:endParaRPr>
          </a:p>
          <a:p>
            <a:pPr lvl="0"/>
            <a:r>
              <a:rPr lang="en-GB" sz="1600" kern="1200" dirty="0">
                <a:solidFill>
                  <a:schemeClr val="tx1"/>
                </a:solidFill>
                <a:effectLst/>
                <a:latin typeface="Arial" panose="020B0604020202020204" pitchFamily="34" charset="0"/>
                <a:ea typeface="+mn-ea"/>
                <a:cs typeface="Arial" panose="020B0604020202020204" pitchFamily="34" charset="0"/>
              </a:rPr>
              <a:t>Panel have decided that the proposed solution requires further input from industry in order to develop the solution and have therefore asked for a Workgroup to be set up and agreed a terms of reference (list of items that need to be considered by the Workgroup to form a robust solution( or solution(s).</a:t>
            </a:r>
          </a:p>
          <a:p>
            <a:pPr lvl="0"/>
            <a:endParaRPr lang="en-GB" sz="1600" kern="1200" dirty="0">
              <a:solidFill>
                <a:schemeClr val="tx1"/>
              </a:solidFill>
              <a:effectLst/>
              <a:latin typeface="Arial" panose="020B0604020202020204" pitchFamily="34" charset="0"/>
              <a:ea typeface="+mn-ea"/>
              <a:cs typeface="Arial" panose="020B0604020202020204" pitchFamily="34" charset="0"/>
            </a:endParaRPr>
          </a:p>
          <a:p>
            <a:pPr lvl="0"/>
            <a:r>
              <a:rPr lang="en-GB" sz="1200" kern="1200" dirty="0">
                <a:solidFill>
                  <a:schemeClr val="tx1"/>
                </a:solidFill>
                <a:effectLst/>
                <a:latin typeface="+mn-lt"/>
                <a:ea typeface="+mn-ea"/>
                <a:cs typeface="+mn-cs"/>
              </a:rPr>
              <a:t>We have endeavoured to ensure there is sufficient industry representation at this Workgroup. </a:t>
            </a:r>
            <a:endParaRPr lang="en-GB" sz="1000" kern="1200" dirty="0">
              <a:solidFill>
                <a:schemeClr val="tx1"/>
              </a:solidFill>
              <a:effectLst/>
              <a:latin typeface="+mn-lt"/>
              <a:ea typeface="+mn-ea"/>
              <a:cs typeface="+mn-cs"/>
            </a:endParaRPr>
          </a:p>
          <a:p>
            <a:pPr lvl="0"/>
            <a:endParaRPr lang="en-GB" sz="1200" kern="1200" dirty="0">
              <a:solidFill>
                <a:schemeClr val="tx1"/>
              </a:solidFill>
              <a:effectLst/>
              <a:latin typeface="+mn-lt"/>
              <a:ea typeface="+mn-ea"/>
              <a:cs typeface="+mn-cs"/>
            </a:endParaRPr>
          </a:p>
          <a:p>
            <a:pPr lvl="0"/>
            <a:r>
              <a:rPr lang="en-GB" sz="1200" kern="1200" dirty="0">
                <a:solidFill>
                  <a:schemeClr val="tx1"/>
                </a:solidFill>
                <a:effectLst/>
                <a:latin typeface="+mn-lt"/>
                <a:ea typeface="+mn-ea"/>
                <a:cs typeface="+mn-cs"/>
              </a:rPr>
              <a:t>The Workgroup will:</a:t>
            </a:r>
            <a:endParaRPr lang="en-GB" sz="1000" kern="1200" dirty="0">
              <a:solidFill>
                <a:schemeClr val="tx1"/>
              </a:solidFill>
              <a:effectLst/>
              <a:latin typeface="+mn-lt"/>
              <a:ea typeface="+mn-ea"/>
              <a:cs typeface="+mn-cs"/>
            </a:endParaRPr>
          </a:p>
          <a:p>
            <a:pPr lvl="1"/>
            <a:r>
              <a:rPr lang="en-GB" sz="1200" kern="1200" dirty="0">
                <a:solidFill>
                  <a:schemeClr val="tx1"/>
                </a:solidFill>
                <a:effectLst/>
                <a:latin typeface="+mn-lt"/>
                <a:ea typeface="+mn-ea"/>
                <a:cs typeface="+mn-cs"/>
              </a:rPr>
              <a:t>further refine the solution(s) and will hold a Workgroup Consultation to gauge industry views on their current thinking and also to provide the Workgroup with additional information/data to help them refine the solution(s).</a:t>
            </a:r>
            <a:endParaRPr lang="en-GB" sz="1000" kern="1200" dirty="0">
              <a:solidFill>
                <a:schemeClr val="tx1"/>
              </a:solidFill>
              <a:effectLst/>
              <a:latin typeface="+mn-lt"/>
              <a:ea typeface="+mn-ea"/>
              <a:cs typeface="+mn-cs"/>
            </a:endParaRPr>
          </a:p>
          <a:p>
            <a:pPr lvl="1"/>
            <a:r>
              <a:rPr lang="en-GB" sz="1200" kern="1200" dirty="0">
                <a:solidFill>
                  <a:schemeClr val="tx1"/>
                </a:solidFill>
                <a:effectLst/>
                <a:latin typeface="+mn-lt"/>
                <a:ea typeface="+mn-ea"/>
                <a:cs typeface="+mn-cs"/>
              </a:rPr>
              <a:t>Consider different solutions to solve the issue and may raise “Alternative Modifications” to be considered alongside the Original Modification. </a:t>
            </a:r>
            <a:r>
              <a:rPr lang="en-GB" sz="1200" i="1" kern="1200" dirty="0">
                <a:solidFill>
                  <a:schemeClr val="tx1"/>
                </a:solidFill>
                <a:effectLst/>
                <a:latin typeface="+mn-lt"/>
                <a:ea typeface="+mn-ea"/>
                <a:cs typeface="+mn-cs"/>
              </a:rPr>
              <a:t>Important to note that no Alternative Modifications can be raised once the Workgroup Report has been signed off by Panel.</a:t>
            </a:r>
            <a:endParaRPr lang="en-GB" sz="1000" kern="1200" dirty="0">
              <a:solidFill>
                <a:schemeClr val="tx1"/>
              </a:solidFill>
              <a:effectLst/>
              <a:latin typeface="+mn-lt"/>
              <a:ea typeface="+mn-ea"/>
              <a:cs typeface="+mn-cs"/>
            </a:endParaRPr>
          </a:p>
          <a:p>
            <a:pPr lvl="1"/>
            <a:r>
              <a:rPr lang="en-GB" sz="1200" kern="1200" dirty="0">
                <a:solidFill>
                  <a:schemeClr val="tx1"/>
                </a:solidFill>
                <a:effectLst/>
                <a:latin typeface="+mn-lt"/>
                <a:ea typeface="+mn-ea"/>
                <a:cs typeface="+mn-cs"/>
              </a:rPr>
              <a:t>Have a Workgroup Vote so views of the Workgroup members can be expressed in the Workgroup Report which is presented to Panel and provides useful intelligence for industry and whoever is making the final decision on what a subset of industry think about the proposed changes</a:t>
            </a:r>
          </a:p>
          <a:p>
            <a:pPr marL="457200" marR="0" lvl="1" indent="0" algn="l"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The output of the Workgroup is detailed in a Workgroup Report, which is then presented to the next Panel for Panel to sign off (agree that the Workgroup has met its terms of reference)</a:t>
            </a:r>
          </a:p>
          <a:p>
            <a:pPr lvl="1"/>
            <a:endParaRPr lang="en-GB" sz="1000"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 </a:t>
            </a:r>
            <a:endParaRPr lang="en-GB" sz="1000"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 </a:t>
            </a:r>
            <a:endParaRPr lang="en-GB" sz="1000" kern="1200" dirty="0">
              <a:solidFill>
                <a:schemeClr val="tx1"/>
              </a:solidFill>
              <a:effectLst/>
              <a:latin typeface="+mn-lt"/>
              <a:ea typeface="+mn-ea"/>
              <a:cs typeface="+mn-cs"/>
            </a:endParaRPr>
          </a:p>
          <a:p>
            <a:pPr lvl="0"/>
            <a:endParaRPr lang="en-GB" sz="1600" kern="1200" dirty="0">
              <a:solidFill>
                <a:schemeClr val="tx1"/>
              </a:solidFill>
              <a:effectLst/>
              <a:latin typeface="Arial" panose="020B0604020202020204" pitchFamily="34" charset="0"/>
              <a:ea typeface="+mn-ea"/>
              <a:cs typeface="Arial" panose="020B0604020202020204" pitchFamily="34" charset="0"/>
            </a:endParaRPr>
          </a:p>
          <a:p>
            <a:endParaRPr lang="en-GB" dirty="0">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7B74334-5195-1F4B-B190-5A416FFA43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11324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GB" sz="1200" b="1" kern="1200" dirty="0">
                <a:solidFill>
                  <a:schemeClr val="tx1"/>
                </a:solidFill>
                <a:effectLst/>
                <a:latin typeface="+mn-lt"/>
                <a:ea typeface="+mn-ea"/>
                <a:cs typeface="+mn-cs"/>
              </a:rPr>
              <a:t>Consult – Code Administrator Consultation</a:t>
            </a:r>
          </a:p>
          <a:p>
            <a:pPr lvl="0"/>
            <a:endParaRPr lang="en-GB" sz="1200" b="1" kern="1200" dirty="0">
              <a:solidFill>
                <a:schemeClr val="tx1"/>
              </a:solidFill>
              <a:effectLst/>
              <a:latin typeface="+mn-lt"/>
              <a:ea typeface="+mn-ea"/>
              <a:cs typeface="+mn-cs"/>
            </a:endParaRPr>
          </a:p>
          <a:p>
            <a:pPr lvl="0"/>
            <a:r>
              <a:rPr lang="en-GB" sz="1200" kern="1200" dirty="0">
                <a:solidFill>
                  <a:schemeClr val="tx1"/>
                </a:solidFill>
                <a:effectLst/>
                <a:latin typeface="+mn-lt"/>
                <a:ea typeface="+mn-ea"/>
                <a:cs typeface="+mn-cs"/>
              </a:rPr>
              <a:t>Once the Panel has signed off the Workgroup Report (agreed that it has met its terms of reference), the Code Administrator runs a consultation on the final solution(s), to gather final views from industry before a decision is made on the modification.</a:t>
            </a:r>
          </a:p>
          <a:p>
            <a:pPr lvl="0"/>
            <a:endParaRPr lang="en-GB" sz="1200" kern="1200" dirty="0">
              <a:solidFill>
                <a:schemeClr val="tx1"/>
              </a:solidFill>
              <a:effectLst/>
              <a:latin typeface="+mn-lt"/>
              <a:ea typeface="+mn-ea"/>
              <a:cs typeface="+mn-cs"/>
            </a:endParaRPr>
          </a:p>
          <a:p>
            <a:pPr lvl="0"/>
            <a:r>
              <a:rPr lang="en-GB" sz="1200" kern="1200" dirty="0">
                <a:solidFill>
                  <a:schemeClr val="tx1"/>
                </a:solidFill>
                <a:effectLst/>
                <a:latin typeface="+mn-lt"/>
                <a:ea typeface="+mn-ea"/>
                <a:cs typeface="+mn-cs"/>
              </a:rPr>
              <a:t>After this, the modification report (including a summary of responses to this consultation produced by the Code Administrator) is presented to and voted on by Panel who also give their views on the solution or solutions.</a:t>
            </a:r>
          </a:p>
          <a:p>
            <a:endParaRPr lang="en-GB" dirty="0">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7B74334-5195-1F4B-B190-5A416FFA43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49252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kern="1200" dirty="0">
                <a:solidFill>
                  <a:schemeClr val="tx1"/>
                </a:solidFill>
                <a:effectLst/>
                <a:latin typeface="+mn-lt"/>
                <a:ea typeface="+mn-ea"/>
                <a:cs typeface="+mn-cs"/>
              </a:rPr>
              <a:t>Decision </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Decisions on whether or not to implement a change are made by either:</a:t>
            </a:r>
            <a:endParaRPr lang="en-GB" sz="10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Ofgem (you will hear the term " Standard Governance") or;</a:t>
            </a:r>
            <a:endParaRPr lang="en-GB" sz="10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The respective Code Panel (you will hear the term "Self-Governance"). </a:t>
            </a:r>
            <a:endParaRPr lang="en-GB" sz="1000" kern="1200" dirty="0">
              <a:solidFill>
                <a:schemeClr val="tx1"/>
              </a:solidFill>
              <a:effectLst/>
              <a:latin typeface="+mn-lt"/>
              <a:ea typeface="+mn-ea"/>
              <a:cs typeface="+mn-cs"/>
            </a:endParaRP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Essentially Self-Governance is followed where making the change is unlikely to have a material impact on parties (i.e. meets the self-governance criteria) and in this case the Code Panel make the decision whether or not to implement a change on a self-governance change but after this decision a 15 working day appeals window is opened for industry to appeal Panel’s decision (to Ofgem) before the change is implemented into the Code.</a:t>
            </a:r>
          </a:p>
          <a:p>
            <a:endParaRPr lang="en-GB" sz="1200" kern="1200" dirty="0">
              <a:solidFill>
                <a:schemeClr val="tx1"/>
              </a:solidFill>
              <a:effectLst/>
              <a:latin typeface="+mn-lt"/>
              <a:ea typeface="+mn-ea"/>
              <a:cs typeface="+mn-cs"/>
            </a:endParaRP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This change is [Standard / Self Governance]</a:t>
            </a:r>
            <a:endParaRPr lang="en-GB" sz="1000" kern="1200" dirty="0">
              <a:solidFill>
                <a:schemeClr val="tx1"/>
              </a:solidFill>
              <a:effectLst/>
              <a:latin typeface="+mn-lt"/>
              <a:ea typeface="+mn-ea"/>
              <a:cs typeface="+mn-cs"/>
            </a:endParaRPr>
          </a:p>
          <a:p>
            <a:endParaRPr lang="en-GB" dirty="0">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7B74334-5195-1F4B-B190-5A416FFA43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58800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kern="1200" dirty="0">
                <a:solidFill>
                  <a:schemeClr val="tx1"/>
                </a:solidFill>
                <a:effectLst/>
                <a:latin typeface="+mn-lt"/>
                <a:ea typeface="+mn-ea"/>
                <a:cs typeface="+mn-cs"/>
              </a:rPr>
              <a:t>Implement </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Each change will include a proposed date for the change to be implemented into the Code – typically if this a change that impacts charges it will come in on a 1 April date. </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Otherwise invariably it will be ~ 10 working days after a decision from Ofgem or ~ 5 working days after closure of appeals window (where the Panel rather than Ofgem are the decision body).</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If Ofgem are making the decision and approve the change, Ofgem will clearly state on their decision letter what the implementation will be.</a:t>
            </a:r>
          </a:p>
          <a:p>
            <a:endParaRPr lang="en-GB" dirty="0">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7B74334-5195-1F4B-B190-5A416FFA43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468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7B74334-5195-1F4B-B190-5A416FFA4340}" type="slidenum">
              <a:rPr lang="en-US" smtClean="0"/>
              <a:t>12</a:t>
            </a:fld>
            <a:endParaRPr lang="en-US" dirty="0"/>
          </a:p>
        </p:txBody>
      </p:sp>
    </p:spTree>
    <p:extLst>
      <p:ext uri="{BB962C8B-B14F-4D97-AF65-F5344CB8AC3E}">
        <p14:creationId xmlns:p14="http://schemas.microsoft.com/office/powerpoint/2010/main" val="5406195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7B74334-5195-1F4B-B190-5A416FFA4340}" type="slidenum">
              <a:rPr lang="en-US" smtClean="0"/>
              <a:t>14</a:t>
            </a:fld>
            <a:endParaRPr lang="en-US" dirty="0"/>
          </a:p>
        </p:txBody>
      </p:sp>
    </p:spTree>
    <p:extLst>
      <p:ext uri="{BB962C8B-B14F-4D97-AF65-F5344CB8AC3E}">
        <p14:creationId xmlns:p14="http://schemas.microsoft.com/office/powerpoint/2010/main" val="35761866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7B74334-5195-1F4B-B190-5A416FFA43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178989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6.emf"/><Relationship Id="rId4" Type="http://schemas.openxmlformats.org/officeDocument/2006/relationships/oleObject" Target="../embeddings/oleObject8.bin"/></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8.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8.emf"/></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6.emf"/><Relationship Id="rId4" Type="http://schemas.openxmlformats.org/officeDocument/2006/relationships/oleObject" Target="../embeddings/oleObject11.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6.emf"/><Relationship Id="rId4" Type="http://schemas.openxmlformats.org/officeDocument/2006/relationships/oleObject" Target="../embeddings/oleObject12.bin"/></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6.emf"/></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hyperlink" Target="https://nationalgrid.onbrandcloud.com/login/" TargetMode="External"/><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hyperlink" Target="https://nationalgrid.onbrandcloud.com/login/" TargetMode="External"/><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hyperlink" Target="https://nationalgrid.onbrandcloud.com/login/" TargetMode="External"/><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609A1C17-C62E-814B-98D4-9359B30674D1}"/>
              </a:ext>
            </a:extLst>
          </p:cNvPr>
          <p:cNvSpPr>
            <a:spLocks noGrp="1"/>
          </p:cNvSpPr>
          <p:nvPr>
            <p:ph type="body" sz="quarter" idx="10"/>
          </p:nvPr>
        </p:nvSpPr>
        <p:spPr>
          <a:xfrm>
            <a:off x="973797" y="2034234"/>
            <a:ext cx="3645338" cy="1655763"/>
          </a:xfrm>
          <a:prstGeom prst="rect">
            <a:avLst/>
          </a:prstGeom>
        </p:spPr>
        <p:txBody>
          <a:bodyPr/>
          <a:lstStyle>
            <a:lvl1pPr marL="0" indent="0">
              <a:buNone/>
              <a:defRPr sz="3600" b="0" i="0">
                <a:solidFill>
                  <a:schemeClr val="bg1"/>
                </a:solidFill>
                <a:latin typeface="Helvetica Neue LT Std 65 Medium" panose="020B0604020202020204" pitchFamily="34" charset="0"/>
              </a:defRPr>
            </a:lvl1pPr>
            <a:lvl2pPr marL="457189" indent="0">
              <a:buNone/>
              <a:defRPr/>
            </a:lvl2pPr>
          </a:lstStyle>
          <a:p>
            <a:pPr lvl="0"/>
            <a:r>
              <a:rPr lang="en-GB" dirty="0"/>
              <a:t>Click to edit Master text styles</a:t>
            </a:r>
          </a:p>
        </p:txBody>
      </p:sp>
    </p:spTree>
    <p:extLst>
      <p:ext uri="{BB962C8B-B14F-4D97-AF65-F5344CB8AC3E}">
        <p14:creationId xmlns:p14="http://schemas.microsoft.com/office/powerpoint/2010/main" val="41659292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29765F6-EDB2-2A42-BBCA-10A614DAE0FA}"/>
              </a:ext>
            </a:extLst>
          </p:cNvPr>
          <p:cNvSpPr>
            <a:spLocks noGrp="1"/>
          </p:cNvSpPr>
          <p:nvPr>
            <p:ph type="title"/>
          </p:nvPr>
        </p:nvSpPr>
        <p:spPr>
          <a:xfrm>
            <a:off x="497523" y="780175"/>
            <a:ext cx="5043199" cy="637747"/>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endParaRPr lang="en-US" dirty="0"/>
          </a:p>
        </p:txBody>
      </p:sp>
      <p:pic>
        <p:nvPicPr>
          <p:cNvPr id="11" name="Picture 10">
            <a:extLst>
              <a:ext uri="{FF2B5EF4-FFF2-40B4-BE49-F238E27FC236}">
                <a16:creationId xmlns:a16="http://schemas.microsoft.com/office/drawing/2014/main" id="{14DB0147-8AA3-3045-A01D-480E4B926D6A}"/>
              </a:ext>
            </a:extLst>
          </p:cNvPr>
          <p:cNvPicPr>
            <a:picLocks noChangeAspect="1"/>
          </p:cNvPicPr>
          <p:nvPr/>
        </p:nvPicPr>
        <p:blipFill>
          <a:blip r:embed="rId2"/>
          <a:stretch>
            <a:fillRect/>
          </a:stretch>
        </p:blipFill>
        <p:spPr>
          <a:xfrm>
            <a:off x="0" y="5816600"/>
            <a:ext cx="12192000" cy="1041400"/>
          </a:xfrm>
          <a:prstGeom prst="rect">
            <a:avLst/>
          </a:prstGeom>
        </p:spPr>
      </p:pic>
      <p:sp>
        <p:nvSpPr>
          <p:cNvPr id="3" name="Table Placeholder 2">
            <a:extLst>
              <a:ext uri="{FF2B5EF4-FFF2-40B4-BE49-F238E27FC236}">
                <a16:creationId xmlns:a16="http://schemas.microsoft.com/office/drawing/2014/main" id="{2BDEBFE9-838E-194F-A633-0E7ABCE7BD1D}"/>
              </a:ext>
            </a:extLst>
          </p:cNvPr>
          <p:cNvSpPr>
            <a:spLocks noGrp="1"/>
          </p:cNvSpPr>
          <p:nvPr>
            <p:ph type="tbl" sz="quarter" idx="10"/>
          </p:nvPr>
        </p:nvSpPr>
        <p:spPr>
          <a:xfrm>
            <a:off x="496888" y="1555750"/>
            <a:ext cx="11064875" cy="3983038"/>
          </a:xfrm>
          <a:prstGeom prst="rect">
            <a:avLst/>
          </a:prstGeom>
          <a:noFill/>
        </p:spPr>
        <p:txBody>
          <a:bodyPr/>
          <a:lstStyle/>
          <a:p>
            <a:endParaRPr lang="en-US" dirty="0"/>
          </a:p>
        </p:txBody>
      </p:sp>
    </p:spTree>
    <p:extLst>
      <p:ext uri="{BB962C8B-B14F-4D97-AF65-F5344CB8AC3E}">
        <p14:creationId xmlns:p14="http://schemas.microsoft.com/office/powerpoint/2010/main" val="6947966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_2ColCopy">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97B6A48-DC40-E440-8A19-26BB129D6623}"/>
              </a:ext>
            </a:extLst>
          </p:cNvPr>
          <p:cNvSpPr>
            <a:spLocks noGrp="1"/>
          </p:cNvSpPr>
          <p:nvPr>
            <p:ph type="title"/>
          </p:nvPr>
        </p:nvSpPr>
        <p:spPr>
          <a:xfrm>
            <a:off x="497523" y="780175"/>
            <a:ext cx="5043199" cy="637747"/>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dirty="0"/>
              <a:t>Click to edit Master title style</a:t>
            </a:r>
            <a:endParaRPr lang="en-US" dirty="0"/>
          </a:p>
        </p:txBody>
      </p:sp>
      <p:sp>
        <p:nvSpPr>
          <p:cNvPr id="7" name="Text Placeholder 11">
            <a:extLst>
              <a:ext uri="{FF2B5EF4-FFF2-40B4-BE49-F238E27FC236}">
                <a16:creationId xmlns:a16="http://schemas.microsoft.com/office/drawing/2014/main" id="{CF042509-A226-C344-A6BB-C999500CA23C}"/>
              </a:ext>
            </a:extLst>
          </p:cNvPr>
          <p:cNvSpPr>
            <a:spLocks noGrp="1"/>
          </p:cNvSpPr>
          <p:nvPr>
            <p:ph type="body" sz="quarter" idx="12"/>
          </p:nvPr>
        </p:nvSpPr>
        <p:spPr>
          <a:xfrm>
            <a:off x="497523" y="2292248"/>
            <a:ext cx="8371840" cy="2954228"/>
          </a:xfrm>
          <a:prstGeom prst="rect">
            <a:avLst/>
          </a:prstGeom>
          <a:ln>
            <a:noFill/>
          </a:ln>
        </p:spPr>
        <p:txBody>
          <a:bodyPr numCol="2"/>
          <a:lstStyle>
            <a:lvl1pPr marL="0" indent="0">
              <a:buNone/>
              <a:defRPr sz="1200" b="0" i="0">
                <a:solidFill>
                  <a:srgbClr val="20201E"/>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pic>
        <p:nvPicPr>
          <p:cNvPr id="4" name="Picture 3">
            <a:extLst>
              <a:ext uri="{FF2B5EF4-FFF2-40B4-BE49-F238E27FC236}">
                <a16:creationId xmlns:a16="http://schemas.microsoft.com/office/drawing/2014/main" id="{1A4F0A92-2974-664A-A5A9-D7D655F91B0C}"/>
              </a:ext>
            </a:extLst>
          </p:cNvPr>
          <p:cNvPicPr>
            <a:picLocks noChangeAspect="1"/>
          </p:cNvPicPr>
          <p:nvPr/>
        </p:nvPicPr>
        <p:blipFill>
          <a:blip r:embed="rId2"/>
          <a:stretch>
            <a:fillRect/>
          </a:stretch>
        </p:blipFill>
        <p:spPr>
          <a:xfrm>
            <a:off x="0" y="5816600"/>
            <a:ext cx="12192000" cy="1041400"/>
          </a:xfrm>
          <a:prstGeom prst="rect">
            <a:avLst/>
          </a:prstGeom>
        </p:spPr>
      </p:pic>
    </p:spTree>
    <p:extLst>
      <p:ext uri="{BB962C8B-B14F-4D97-AF65-F5344CB8AC3E}">
        <p14:creationId xmlns:p14="http://schemas.microsoft.com/office/powerpoint/2010/main" val="37724694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nimation Placehold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97B6A48-DC40-E440-8A19-26BB129D6623}"/>
              </a:ext>
            </a:extLst>
          </p:cNvPr>
          <p:cNvSpPr>
            <a:spLocks noGrp="1"/>
          </p:cNvSpPr>
          <p:nvPr>
            <p:ph type="title" hasCustomPrompt="1"/>
          </p:nvPr>
        </p:nvSpPr>
        <p:spPr>
          <a:xfrm>
            <a:off x="639066" y="368728"/>
            <a:ext cx="5043199" cy="637747"/>
          </a:xfrm>
          <a:prstGeom prst="rect">
            <a:avLst/>
          </a:prstGeom>
        </p:spPr>
        <p:txBody>
          <a:bodyPr anchor="t"/>
          <a:lstStyle>
            <a:lvl1pPr>
              <a:defRPr sz="20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dirty="0"/>
              <a:t>Click to edit title</a:t>
            </a:r>
            <a:endParaRPr lang="en-US" dirty="0"/>
          </a:p>
        </p:txBody>
      </p:sp>
      <p:sp>
        <p:nvSpPr>
          <p:cNvPr id="7" name="Text Placeholder 11">
            <a:extLst>
              <a:ext uri="{FF2B5EF4-FFF2-40B4-BE49-F238E27FC236}">
                <a16:creationId xmlns:a16="http://schemas.microsoft.com/office/drawing/2014/main" id="{CF042509-A226-C344-A6BB-C999500CA23C}"/>
              </a:ext>
            </a:extLst>
          </p:cNvPr>
          <p:cNvSpPr>
            <a:spLocks noGrp="1"/>
          </p:cNvSpPr>
          <p:nvPr>
            <p:ph type="body" sz="quarter" idx="12"/>
          </p:nvPr>
        </p:nvSpPr>
        <p:spPr>
          <a:xfrm>
            <a:off x="639066" y="1143000"/>
            <a:ext cx="2553170" cy="4400550"/>
          </a:xfrm>
          <a:prstGeom prst="rect">
            <a:avLst/>
          </a:prstGeom>
          <a:ln>
            <a:noFill/>
          </a:ln>
        </p:spPr>
        <p:txBody>
          <a:bodyPr numCol="1"/>
          <a:lstStyle>
            <a:lvl1pPr marL="0" indent="0">
              <a:buNone/>
              <a:defRPr sz="1200" b="0" i="0">
                <a:solidFill>
                  <a:schemeClr val="tx1">
                    <a:lumMod val="65000"/>
                    <a:lumOff val="35000"/>
                  </a:schemeClr>
                </a:solidFill>
                <a:latin typeface="Helvetica Neue Light" pitchFamily="2"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pic>
        <p:nvPicPr>
          <p:cNvPr id="4" name="Picture 3">
            <a:extLst>
              <a:ext uri="{FF2B5EF4-FFF2-40B4-BE49-F238E27FC236}">
                <a16:creationId xmlns:a16="http://schemas.microsoft.com/office/drawing/2014/main" id="{1A4F0A92-2974-664A-A5A9-D7D655F91B0C}"/>
              </a:ext>
            </a:extLst>
          </p:cNvPr>
          <p:cNvPicPr>
            <a:picLocks noChangeAspect="1"/>
          </p:cNvPicPr>
          <p:nvPr/>
        </p:nvPicPr>
        <p:blipFill>
          <a:blip r:embed="rId2"/>
          <a:stretch>
            <a:fillRect/>
          </a:stretch>
        </p:blipFill>
        <p:spPr>
          <a:xfrm>
            <a:off x="0" y="5816600"/>
            <a:ext cx="12192000" cy="1041400"/>
          </a:xfrm>
          <a:prstGeom prst="rect">
            <a:avLst/>
          </a:prstGeom>
        </p:spPr>
      </p:pic>
      <p:sp>
        <p:nvSpPr>
          <p:cNvPr id="8" name="Media Placeholder 7">
            <a:extLst>
              <a:ext uri="{FF2B5EF4-FFF2-40B4-BE49-F238E27FC236}">
                <a16:creationId xmlns:a16="http://schemas.microsoft.com/office/drawing/2014/main" id="{79C68202-A54E-6A4D-B1AC-DE71B357A6EC}"/>
              </a:ext>
            </a:extLst>
          </p:cNvPr>
          <p:cNvSpPr>
            <a:spLocks noGrp="1"/>
          </p:cNvSpPr>
          <p:nvPr>
            <p:ph type="media" sz="quarter" idx="13"/>
          </p:nvPr>
        </p:nvSpPr>
        <p:spPr>
          <a:xfrm>
            <a:off x="3657600" y="1143000"/>
            <a:ext cx="7821613" cy="4400550"/>
          </a:xfrm>
          <a:prstGeom prst="rect">
            <a:avLst/>
          </a:prstGeom>
        </p:spPr>
        <p:txBody>
          <a:bodyPr/>
          <a:lstStyle/>
          <a:p>
            <a:endParaRPr lang="en-US" dirty="0"/>
          </a:p>
        </p:txBody>
      </p:sp>
    </p:spTree>
    <p:extLst>
      <p:ext uri="{BB962C8B-B14F-4D97-AF65-F5344CB8AC3E}">
        <p14:creationId xmlns:p14="http://schemas.microsoft.com/office/powerpoint/2010/main" val="39921671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Animation Placeholder">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CB0CA34-0058-9047-AA94-D2A25CB49EF4}"/>
              </a:ext>
            </a:extLst>
          </p:cNvPr>
          <p:cNvSpPr>
            <a:spLocks noGrp="1"/>
          </p:cNvSpPr>
          <p:nvPr>
            <p:ph type="pic" sz="quarter" idx="14"/>
          </p:nvPr>
        </p:nvSpPr>
        <p:spPr>
          <a:xfrm>
            <a:off x="3657600" y="1143000"/>
            <a:ext cx="7821613" cy="4400550"/>
          </a:xfrm>
          <a:prstGeom prst="rect">
            <a:avLst/>
          </a:prstGeom>
        </p:spPr>
        <p:txBody>
          <a:bodyPr/>
          <a:lstStyle/>
          <a:p>
            <a:endParaRPr lang="en-US" dirty="0"/>
          </a:p>
        </p:txBody>
      </p:sp>
      <p:sp>
        <p:nvSpPr>
          <p:cNvPr id="5" name="Title 1">
            <a:extLst>
              <a:ext uri="{FF2B5EF4-FFF2-40B4-BE49-F238E27FC236}">
                <a16:creationId xmlns:a16="http://schemas.microsoft.com/office/drawing/2014/main" id="{A97B6A48-DC40-E440-8A19-26BB129D6623}"/>
              </a:ext>
            </a:extLst>
          </p:cNvPr>
          <p:cNvSpPr>
            <a:spLocks noGrp="1"/>
          </p:cNvSpPr>
          <p:nvPr>
            <p:ph type="title" hasCustomPrompt="1"/>
          </p:nvPr>
        </p:nvSpPr>
        <p:spPr>
          <a:xfrm>
            <a:off x="639066" y="368728"/>
            <a:ext cx="5043199" cy="637747"/>
          </a:xfrm>
          <a:prstGeom prst="rect">
            <a:avLst/>
          </a:prstGeom>
        </p:spPr>
        <p:txBody>
          <a:bodyPr anchor="t"/>
          <a:lstStyle>
            <a:lvl1pPr>
              <a:defRPr sz="20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dirty="0"/>
              <a:t>Click to edit title</a:t>
            </a:r>
            <a:endParaRPr lang="en-US" dirty="0"/>
          </a:p>
        </p:txBody>
      </p:sp>
      <p:sp>
        <p:nvSpPr>
          <p:cNvPr id="7" name="Text Placeholder 11">
            <a:extLst>
              <a:ext uri="{FF2B5EF4-FFF2-40B4-BE49-F238E27FC236}">
                <a16:creationId xmlns:a16="http://schemas.microsoft.com/office/drawing/2014/main" id="{CF042509-A226-C344-A6BB-C999500CA23C}"/>
              </a:ext>
            </a:extLst>
          </p:cNvPr>
          <p:cNvSpPr>
            <a:spLocks noGrp="1"/>
          </p:cNvSpPr>
          <p:nvPr>
            <p:ph type="body" sz="quarter" idx="12"/>
          </p:nvPr>
        </p:nvSpPr>
        <p:spPr>
          <a:xfrm>
            <a:off x="639066" y="1143000"/>
            <a:ext cx="2553170" cy="4400550"/>
          </a:xfrm>
          <a:prstGeom prst="rect">
            <a:avLst/>
          </a:prstGeom>
          <a:ln>
            <a:noFill/>
          </a:ln>
        </p:spPr>
        <p:txBody>
          <a:bodyPr numCol="1"/>
          <a:lstStyle>
            <a:lvl1pPr marL="0" indent="0">
              <a:buNone/>
              <a:defRPr sz="1200" b="0" i="0">
                <a:solidFill>
                  <a:schemeClr val="tx1">
                    <a:lumMod val="65000"/>
                    <a:lumOff val="35000"/>
                  </a:schemeClr>
                </a:solidFill>
                <a:latin typeface="Helvetica Neue Light" pitchFamily="2"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pic>
        <p:nvPicPr>
          <p:cNvPr id="4" name="Picture 3">
            <a:extLst>
              <a:ext uri="{FF2B5EF4-FFF2-40B4-BE49-F238E27FC236}">
                <a16:creationId xmlns:a16="http://schemas.microsoft.com/office/drawing/2014/main" id="{1A4F0A92-2974-664A-A5A9-D7D655F91B0C}"/>
              </a:ext>
            </a:extLst>
          </p:cNvPr>
          <p:cNvPicPr>
            <a:picLocks noChangeAspect="1"/>
          </p:cNvPicPr>
          <p:nvPr/>
        </p:nvPicPr>
        <p:blipFill>
          <a:blip r:embed="rId2"/>
          <a:stretch>
            <a:fillRect/>
          </a:stretch>
        </p:blipFill>
        <p:spPr>
          <a:xfrm>
            <a:off x="0" y="5816600"/>
            <a:ext cx="12192000" cy="1041400"/>
          </a:xfrm>
          <a:prstGeom prst="rect">
            <a:avLst/>
          </a:prstGeom>
        </p:spPr>
      </p:pic>
    </p:spTree>
    <p:extLst>
      <p:ext uri="{BB962C8B-B14F-4D97-AF65-F5344CB8AC3E}">
        <p14:creationId xmlns:p14="http://schemas.microsoft.com/office/powerpoint/2010/main" val="30368605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le_2ColCopy">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97B6A48-DC40-E440-8A19-26BB129D6623}"/>
              </a:ext>
            </a:extLst>
          </p:cNvPr>
          <p:cNvSpPr>
            <a:spLocks noGrp="1"/>
          </p:cNvSpPr>
          <p:nvPr>
            <p:ph type="title"/>
          </p:nvPr>
        </p:nvSpPr>
        <p:spPr>
          <a:xfrm>
            <a:off x="497523" y="780175"/>
            <a:ext cx="5043199" cy="637747"/>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dirty="0"/>
              <a:t>Click to edit Master title style</a:t>
            </a:r>
            <a:endParaRPr lang="en-US" dirty="0"/>
          </a:p>
        </p:txBody>
      </p:sp>
      <p:sp>
        <p:nvSpPr>
          <p:cNvPr id="7" name="Text Placeholder 11">
            <a:extLst>
              <a:ext uri="{FF2B5EF4-FFF2-40B4-BE49-F238E27FC236}">
                <a16:creationId xmlns:a16="http://schemas.microsoft.com/office/drawing/2014/main" id="{CF042509-A226-C344-A6BB-C999500CA23C}"/>
              </a:ext>
            </a:extLst>
          </p:cNvPr>
          <p:cNvSpPr>
            <a:spLocks noGrp="1"/>
          </p:cNvSpPr>
          <p:nvPr>
            <p:ph type="body" sz="quarter" idx="12"/>
          </p:nvPr>
        </p:nvSpPr>
        <p:spPr>
          <a:xfrm>
            <a:off x="497523" y="2292248"/>
            <a:ext cx="8371840" cy="2954228"/>
          </a:xfrm>
          <a:prstGeom prst="rect">
            <a:avLst/>
          </a:prstGeom>
          <a:ln>
            <a:noFill/>
          </a:ln>
        </p:spPr>
        <p:txBody>
          <a:bodyPr numCol="2"/>
          <a:lstStyle>
            <a:lvl1pPr marL="0" indent="0">
              <a:buNone/>
              <a:defRPr sz="12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pic>
        <p:nvPicPr>
          <p:cNvPr id="4" name="Picture 3">
            <a:extLst>
              <a:ext uri="{FF2B5EF4-FFF2-40B4-BE49-F238E27FC236}">
                <a16:creationId xmlns:a16="http://schemas.microsoft.com/office/drawing/2014/main" id="{3CEFC9FD-4988-3545-94AD-E0B828F13E63}"/>
              </a:ext>
            </a:extLst>
          </p:cNvPr>
          <p:cNvPicPr>
            <a:picLocks noChangeAspect="1"/>
          </p:cNvPicPr>
          <p:nvPr/>
        </p:nvPicPr>
        <p:blipFill>
          <a:blip r:embed="rId2"/>
          <a:stretch>
            <a:fillRect/>
          </a:stretch>
        </p:blipFill>
        <p:spPr>
          <a:xfrm>
            <a:off x="0" y="5816600"/>
            <a:ext cx="12192000" cy="1041400"/>
          </a:xfrm>
          <a:prstGeom prst="rect">
            <a:avLst/>
          </a:prstGeom>
        </p:spPr>
      </p:pic>
    </p:spTree>
    <p:extLst>
      <p:ext uri="{BB962C8B-B14F-4D97-AF65-F5344CB8AC3E}">
        <p14:creationId xmlns:p14="http://schemas.microsoft.com/office/powerpoint/2010/main" val="23745967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YellowBG_4Col_Copy">
    <p:bg>
      <p:bgPr>
        <a:solidFill>
          <a:srgbClr val="FFCE2C"/>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97B6A48-DC40-E440-8A19-26BB129D6623}"/>
              </a:ext>
            </a:extLst>
          </p:cNvPr>
          <p:cNvSpPr>
            <a:spLocks noGrp="1"/>
          </p:cNvSpPr>
          <p:nvPr>
            <p:ph type="title"/>
          </p:nvPr>
        </p:nvSpPr>
        <p:spPr>
          <a:xfrm>
            <a:off x="1805585" y="780175"/>
            <a:ext cx="5043199" cy="637747"/>
          </a:xfrm>
          <a:prstGeom prst="rect">
            <a:avLst/>
          </a:prstGeom>
        </p:spPr>
        <p:txBody>
          <a:bodyPr anchor="t"/>
          <a:lstStyle>
            <a:lvl1pPr>
              <a:defRPr sz="4400" b="0" i="0">
                <a:solidFill>
                  <a:schemeClr val="bg1"/>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dirty="0"/>
              <a:t>Click to edit Master title style</a:t>
            </a:r>
            <a:endParaRPr lang="en-US" dirty="0"/>
          </a:p>
        </p:txBody>
      </p:sp>
      <p:sp>
        <p:nvSpPr>
          <p:cNvPr id="7" name="Text Placeholder 11">
            <a:extLst>
              <a:ext uri="{FF2B5EF4-FFF2-40B4-BE49-F238E27FC236}">
                <a16:creationId xmlns:a16="http://schemas.microsoft.com/office/drawing/2014/main" id="{CF042509-A226-C344-A6BB-C999500CA23C}"/>
              </a:ext>
            </a:extLst>
          </p:cNvPr>
          <p:cNvSpPr>
            <a:spLocks noGrp="1"/>
          </p:cNvSpPr>
          <p:nvPr>
            <p:ph type="body" sz="quarter" idx="12"/>
          </p:nvPr>
        </p:nvSpPr>
        <p:spPr>
          <a:xfrm>
            <a:off x="731520" y="3141703"/>
            <a:ext cx="10769600" cy="424458"/>
          </a:xfrm>
          <a:prstGeom prst="rect">
            <a:avLst/>
          </a:prstGeom>
          <a:ln>
            <a:noFill/>
          </a:ln>
        </p:spPr>
        <p:txBody>
          <a:bodyPr numCol="5" spcCol="180000"/>
          <a:lstStyle>
            <a:lvl1pPr marL="0" indent="0">
              <a:buNone/>
              <a:defRPr sz="1200" b="0" i="0">
                <a:solidFill>
                  <a:schemeClr val="bg1"/>
                </a:solidFill>
                <a:latin typeface="Helvetica Neue LT Std 65 Medium" panose="020B0604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sp>
        <p:nvSpPr>
          <p:cNvPr id="9" name="Picture Placeholder 8">
            <a:extLst>
              <a:ext uri="{FF2B5EF4-FFF2-40B4-BE49-F238E27FC236}">
                <a16:creationId xmlns:a16="http://schemas.microsoft.com/office/drawing/2014/main" id="{54BF29C9-0436-134E-A264-725F95AE9671}"/>
              </a:ext>
            </a:extLst>
          </p:cNvPr>
          <p:cNvSpPr>
            <a:spLocks noGrp="1"/>
          </p:cNvSpPr>
          <p:nvPr>
            <p:ph type="pic" sz="quarter" idx="13"/>
          </p:nvPr>
        </p:nvSpPr>
        <p:spPr>
          <a:xfrm>
            <a:off x="497523" y="779780"/>
            <a:ext cx="1147762" cy="1147763"/>
          </a:xfrm>
          <a:prstGeom prst="rect">
            <a:avLst/>
          </a:prstGeom>
        </p:spPr>
        <p:txBody>
          <a:bodyPr/>
          <a:lstStyle/>
          <a:p>
            <a:endParaRPr lang="en-US" dirty="0"/>
          </a:p>
        </p:txBody>
      </p:sp>
      <p:sp>
        <p:nvSpPr>
          <p:cNvPr id="8" name="Text Placeholder 11">
            <a:extLst>
              <a:ext uri="{FF2B5EF4-FFF2-40B4-BE49-F238E27FC236}">
                <a16:creationId xmlns:a16="http://schemas.microsoft.com/office/drawing/2014/main" id="{A06DA923-E6F8-0C40-AB87-1C790FDFB57B}"/>
              </a:ext>
            </a:extLst>
          </p:cNvPr>
          <p:cNvSpPr>
            <a:spLocks noGrp="1"/>
          </p:cNvSpPr>
          <p:nvPr>
            <p:ph type="body" sz="quarter" idx="14"/>
          </p:nvPr>
        </p:nvSpPr>
        <p:spPr>
          <a:xfrm>
            <a:off x="731520" y="3613316"/>
            <a:ext cx="10769600" cy="1161287"/>
          </a:xfrm>
          <a:prstGeom prst="rect">
            <a:avLst/>
          </a:prstGeom>
          <a:ln>
            <a:noFill/>
          </a:ln>
        </p:spPr>
        <p:txBody>
          <a:bodyPr numCol="5" spcCol="180000"/>
          <a:lstStyle>
            <a:lvl1pPr marL="0" indent="0">
              <a:buNone/>
              <a:defRPr sz="1200" b="0" i="0">
                <a:solidFill>
                  <a:schemeClr val="bg1"/>
                </a:solidFill>
                <a:latin typeface="Helvetica Neue LT Std 55 Roman" panose="020B0604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pic>
        <p:nvPicPr>
          <p:cNvPr id="10" name="Picture 9">
            <a:extLst>
              <a:ext uri="{FF2B5EF4-FFF2-40B4-BE49-F238E27FC236}">
                <a16:creationId xmlns:a16="http://schemas.microsoft.com/office/drawing/2014/main" id="{64A1F1FB-7E9F-194E-B5B6-585CAF3C3674}"/>
              </a:ext>
            </a:extLst>
          </p:cNvPr>
          <p:cNvPicPr>
            <a:picLocks noChangeAspect="1"/>
          </p:cNvPicPr>
          <p:nvPr/>
        </p:nvPicPr>
        <p:blipFill>
          <a:blip r:embed="rId2"/>
          <a:stretch>
            <a:fillRect/>
          </a:stretch>
        </p:blipFill>
        <p:spPr>
          <a:xfrm>
            <a:off x="0" y="5816600"/>
            <a:ext cx="12192000" cy="1041400"/>
          </a:xfrm>
          <a:prstGeom prst="rect">
            <a:avLst/>
          </a:prstGeom>
        </p:spPr>
      </p:pic>
    </p:spTree>
    <p:extLst>
      <p:ext uri="{BB962C8B-B14F-4D97-AF65-F5344CB8AC3E}">
        <p14:creationId xmlns:p14="http://schemas.microsoft.com/office/powerpoint/2010/main" val="32158218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2_column">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15F6C26-F6B7-524C-A2DE-8D5D05800874}"/>
              </a:ext>
            </a:extLst>
          </p:cNvPr>
          <p:cNvSpPr>
            <a:spLocks noGrp="1"/>
          </p:cNvSpPr>
          <p:nvPr>
            <p:ph type="title"/>
          </p:nvPr>
        </p:nvSpPr>
        <p:spPr>
          <a:xfrm>
            <a:off x="627025" y="560117"/>
            <a:ext cx="5043199" cy="637747"/>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dirty="0"/>
              <a:t>Click to edit Master title style</a:t>
            </a:r>
            <a:endParaRPr lang="en-US" dirty="0"/>
          </a:p>
        </p:txBody>
      </p:sp>
      <p:sp>
        <p:nvSpPr>
          <p:cNvPr id="5" name="Text Placeholder 11">
            <a:extLst>
              <a:ext uri="{FF2B5EF4-FFF2-40B4-BE49-F238E27FC236}">
                <a16:creationId xmlns:a16="http://schemas.microsoft.com/office/drawing/2014/main" id="{96A35149-E325-934F-831D-58E063CAB1F5}"/>
              </a:ext>
            </a:extLst>
          </p:cNvPr>
          <p:cNvSpPr>
            <a:spLocks noGrp="1"/>
          </p:cNvSpPr>
          <p:nvPr>
            <p:ph type="body" sz="quarter" idx="12"/>
          </p:nvPr>
        </p:nvSpPr>
        <p:spPr>
          <a:xfrm>
            <a:off x="627025" y="2123440"/>
            <a:ext cx="6738975" cy="3454400"/>
          </a:xfrm>
          <a:prstGeom prst="rect">
            <a:avLst/>
          </a:prstGeom>
          <a:ln>
            <a:noFill/>
          </a:ln>
        </p:spPr>
        <p:txBody>
          <a:bodyPr numCol="2"/>
          <a:lstStyle>
            <a:lvl1pPr marL="0" indent="0">
              <a:buNone/>
              <a:defRPr sz="12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pic>
        <p:nvPicPr>
          <p:cNvPr id="6" name="Picture 5">
            <a:extLst>
              <a:ext uri="{FF2B5EF4-FFF2-40B4-BE49-F238E27FC236}">
                <a16:creationId xmlns:a16="http://schemas.microsoft.com/office/drawing/2014/main" id="{3D551E60-DCC7-4A4D-A003-7BFB85876EA6}"/>
              </a:ext>
            </a:extLst>
          </p:cNvPr>
          <p:cNvPicPr>
            <a:picLocks noChangeAspect="1"/>
          </p:cNvPicPr>
          <p:nvPr/>
        </p:nvPicPr>
        <p:blipFill>
          <a:blip r:embed="rId2"/>
          <a:stretch>
            <a:fillRect/>
          </a:stretch>
        </p:blipFill>
        <p:spPr>
          <a:xfrm>
            <a:off x="0" y="5816600"/>
            <a:ext cx="12192000" cy="1041400"/>
          </a:xfrm>
          <a:prstGeom prst="rect">
            <a:avLst/>
          </a:prstGeom>
        </p:spPr>
      </p:pic>
    </p:spTree>
    <p:extLst>
      <p:ext uri="{BB962C8B-B14F-4D97-AF65-F5344CB8AC3E}">
        <p14:creationId xmlns:p14="http://schemas.microsoft.com/office/powerpoint/2010/main" val="36189933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nvPr>
        </p:nvGraphicFramePr>
        <p:xfrm>
          <a:off x="1813" y="1441"/>
          <a:ext cx="1809" cy="1440"/>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2" name="Object 11" hidden="1"/>
                      <p:cNvPicPr/>
                      <p:nvPr/>
                    </p:nvPicPr>
                    <p:blipFill>
                      <a:blip r:embed="rId4"/>
                      <a:stretch>
                        <a:fillRect/>
                      </a:stretch>
                    </p:blipFill>
                    <p:spPr>
                      <a:xfrm>
                        <a:off x="1813" y="1441"/>
                        <a:ext cx="1809" cy="1440"/>
                      </a:xfrm>
                      <a:prstGeom prst="rect">
                        <a:avLst/>
                      </a:prstGeom>
                    </p:spPr>
                  </p:pic>
                </p:oleObj>
              </mc:Fallback>
            </mc:AlternateContent>
          </a:graphicData>
        </a:graphic>
      </p:graphicFrame>
      <p:sp>
        <p:nvSpPr>
          <p:cNvPr id="2" name="Title 1"/>
          <p:cNvSpPr>
            <a:spLocks noGrp="1"/>
          </p:cNvSpPr>
          <p:nvPr>
            <p:ph type="ctrTitle"/>
          </p:nvPr>
        </p:nvSpPr>
        <p:spPr>
          <a:xfrm>
            <a:off x="577850" y="672000"/>
            <a:ext cx="11038148" cy="2640000"/>
          </a:xfrm>
        </p:spPr>
        <p:txBody>
          <a:bodyPr anchor="t"/>
          <a:lstStyle>
            <a:lvl1pPr algn="l" eaLnBrk="1">
              <a:lnSpc>
                <a:spcPct val="95000"/>
              </a:lnSpc>
              <a:defRPr sz="8533">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r>
              <a:rPr lang="en-GB"/>
              <a:t>Click to edit Master title style</a:t>
            </a:r>
            <a:endParaRPr lang="en-GB" dirty="0"/>
          </a:p>
        </p:txBody>
      </p:sp>
      <p:sp>
        <p:nvSpPr>
          <p:cNvPr id="3" name="Subtitle 2"/>
          <p:cNvSpPr>
            <a:spLocks noGrp="1"/>
          </p:cNvSpPr>
          <p:nvPr>
            <p:ph type="subTitle" idx="1"/>
          </p:nvPr>
        </p:nvSpPr>
        <p:spPr>
          <a:xfrm>
            <a:off x="575999" y="3377572"/>
            <a:ext cx="11040000" cy="720000"/>
          </a:xfrm>
        </p:spPr>
        <p:txBody>
          <a:bodyPr/>
          <a:lstStyle>
            <a:lvl1pPr marL="0" indent="0" algn="l" eaLnBrk="1">
              <a:lnSpc>
                <a:spcPct val="95000"/>
              </a:lnSpc>
              <a:spcBef>
                <a:spcPts val="0"/>
              </a:spcBef>
              <a:buFont typeface="Arial" panose="020B0604020202020204" pitchFamily="34" charset="0"/>
              <a:buChar char="​"/>
              <a:defRPr sz="2800" b="0" baseline="0">
                <a:solidFill>
                  <a:srgbClr val="8ECDC8"/>
                </a:solidFill>
                <a:latin typeface="Arial" panose="020B0604020202020204" pitchFamily="34" charset="0"/>
                <a:cs typeface="Arial" panose="020B0604020202020204" pitchFamily="34" charset="0"/>
                <a:sym typeface="Arial" panose="020B0604020202020204" pitchFamily="34" charset="0"/>
              </a:defRPr>
            </a:lvl1pPr>
            <a:lvl2pPr marL="0" indent="0" algn="l">
              <a:lnSpc>
                <a:spcPct val="95000"/>
              </a:lnSpc>
              <a:spcBef>
                <a:spcPts val="0"/>
              </a:spcBef>
              <a:buFont typeface="Arial" panose="020B0604020202020204" pitchFamily="34" charset="0"/>
              <a:buChar char="​"/>
              <a:defRPr sz="2000"/>
            </a:lvl2pPr>
            <a:lvl3pPr marL="0" indent="0" algn="l">
              <a:lnSpc>
                <a:spcPct val="95000"/>
              </a:lnSpc>
              <a:spcBef>
                <a:spcPts val="0"/>
              </a:spcBef>
              <a:buFont typeface="Arial" panose="020B0604020202020204" pitchFamily="34" charset="0"/>
              <a:buChar char="​"/>
              <a:defRPr sz="2000"/>
            </a:lvl3pPr>
            <a:lvl4pPr marL="0" indent="0" algn="l">
              <a:lnSpc>
                <a:spcPct val="95000"/>
              </a:lnSpc>
              <a:spcBef>
                <a:spcPts val="0"/>
              </a:spcBef>
              <a:buFont typeface="Arial" panose="020B0604020202020204" pitchFamily="34" charset="0"/>
              <a:buChar char="​"/>
              <a:defRPr sz="2000"/>
            </a:lvl4pPr>
            <a:lvl5pPr marL="0" indent="0" algn="l">
              <a:lnSpc>
                <a:spcPct val="95000"/>
              </a:lnSpc>
              <a:spcBef>
                <a:spcPts val="0"/>
              </a:spcBef>
              <a:buFont typeface="Arial" panose="020B0604020202020204" pitchFamily="34" charset="0"/>
              <a:buChar char="​"/>
              <a:defRPr sz="2000"/>
            </a:lvl5pPr>
            <a:lvl6pPr marL="0" indent="0" algn="l">
              <a:lnSpc>
                <a:spcPct val="95000"/>
              </a:lnSpc>
              <a:spcBef>
                <a:spcPts val="0"/>
              </a:spcBef>
              <a:buFont typeface="Arial" panose="020B0604020202020204" pitchFamily="34" charset="0"/>
              <a:buChar char="​"/>
              <a:defRPr sz="2000"/>
            </a:lvl6pPr>
            <a:lvl7pPr marL="0" indent="0" algn="l">
              <a:lnSpc>
                <a:spcPct val="95000"/>
              </a:lnSpc>
              <a:spcBef>
                <a:spcPts val="0"/>
              </a:spcBef>
              <a:buFont typeface="Arial" panose="020B0604020202020204" pitchFamily="34" charset="0"/>
              <a:buChar char="​"/>
              <a:defRPr sz="2000"/>
            </a:lvl7pPr>
            <a:lvl8pPr marL="0" indent="0" algn="l">
              <a:lnSpc>
                <a:spcPct val="95000"/>
              </a:lnSpc>
              <a:spcBef>
                <a:spcPts val="0"/>
              </a:spcBef>
              <a:buFont typeface="Arial" panose="020B0604020202020204" pitchFamily="34" charset="0"/>
              <a:buChar char="​"/>
              <a:defRPr sz="2000"/>
            </a:lvl8pPr>
            <a:lvl9pPr marL="0" indent="0" algn="l">
              <a:lnSpc>
                <a:spcPct val="95000"/>
              </a:lnSpc>
              <a:spcBef>
                <a:spcPts val="0"/>
              </a:spcBef>
              <a:buFont typeface="Arial" panose="020B0604020202020204" pitchFamily="34" charset="0"/>
              <a:buChar char="​"/>
              <a:defRPr sz="2000"/>
            </a:lvl9pPr>
          </a:lstStyle>
          <a:p>
            <a:r>
              <a:rPr lang="en-GB"/>
              <a:t>Click to edit Master subtitle style</a:t>
            </a:r>
            <a:endParaRPr lang="en-GB" dirty="0"/>
          </a:p>
        </p:txBody>
      </p:sp>
      <p:sp>
        <p:nvSpPr>
          <p:cNvPr id="4" name="Date_DateCustomA"/>
          <p:cNvSpPr>
            <a:spLocks noGrp="1"/>
          </p:cNvSpPr>
          <p:nvPr>
            <p:ph type="dt" sz="half" idx="10"/>
          </p:nvPr>
        </p:nvSpPr>
        <p:spPr>
          <a:xfrm>
            <a:off x="7506076" y="6117126"/>
            <a:ext cx="4105123" cy="261268"/>
          </a:xfrm>
          <a:prstGeom prst="rect">
            <a:avLst/>
          </a:prstGeom>
        </p:spPr>
        <p:txBody>
          <a:bodyPr lIns="0" tIns="0" rIns="0" bIns="0" anchor="t" anchorCtr="0"/>
          <a:lstStyle>
            <a:lvl1pPr algn="r" eaLnBrk="1">
              <a:lnSpc>
                <a:spcPct val="95000"/>
              </a:lnSpc>
              <a:defRPr sz="2000">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6" name="Slide Number Placeholder 5" hidden="1"/>
          <p:cNvSpPr>
            <a:spLocks noGrp="1"/>
          </p:cNvSpPr>
          <p:nvPr>
            <p:ph type="sldNum" sz="quarter" idx="12"/>
          </p:nvPr>
        </p:nvSpPr>
        <p:spPr>
          <a:xfrm>
            <a:off x="0" y="6912000"/>
            <a:ext cx="0" cy="0"/>
          </a:xfrm>
        </p:spPr>
        <p:txBody>
          <a:bodyPr/>
          <a:lstStyle>
            <a:lvl1pPr>
              <a:defRPr>
                <a:noFill/>
                <a:latin typeface="Arial" panose="020B0604020202020204" pitchFamily="34" charset="0"/>
                <a:cs typeface="Arial" panose="020B0604020202020204" pitchFamily="34" charset="0"/>
                <a:sym typeface="Arial" panose="020B0604020202020204" pitchFamily="34" charset="0"/>
              </a:defRPr>
            </a:lvl1pPr>
          </a:lstStyle>
          <a:p>
            <a:fld id="{24C8C45C-947F-4981-8B3F-4F32E973C901}" type="slidenum">
              <a:rPr lang="en-GB" smtClean="0"/>
              <a:pPr/>
              <a:t>‹#›</a:t>
            </a:fld>
            <a:endParaRPr lang="en-GB" dirty="0"/>
          </a:p>
        </p:txBody>
      </p:sp>
      <p:sp>
        <p:nvSpPr>
          <p:cNvPr id="18" name="Text Placeholder 17"/>
          <p:cNvSpPr>
            <a:spLocks noGrp="1"/>
          </p:cNvSpPr>
          <p:nvPr>
            <p:ph type="body" sz="quarter" idx="16" hasCustomPrompt="1"/>
          </p:nvPr>
        </p:nvSpPr>
        <p:spPr>
          <a:xfrm>
            <a:off x="7506076" y="5549281"/>
            <a:ext cx="4105123" cy="547508"/>
          </a:xfrm>
        </p:spPr>
        <p:txBody>
          <a:bodyPr anchor="b" anchorCtr="0"/>
          <a:lstStyle>
            <a:lvl1pPr algn="r">
              <a:lnSpc>
                <a:spcPct val="95000"/>
              </a:lnSpc>
              <a:spcBef>
                <a:spcPts val="0"/>
              </a:spcBef>
              <a:defRPr sz="2000" b="1" baseline="0">
                <a:solidFill>
                  <a:schemeClr val="accent1"/>
                </a:solidFill>
                <a:latin typeface="Arial" panose="020B0604020202020204" pitchFamily="34" charset="0"/>
                <a:cs typeface="Arial" panose="020B0604020202020204" pitchFamily="34" charset="0"/>
                <a:sym typeface="Arial" panose="020B0604020202020204" pitchFamily="34" charset="0"/>
              </a:defRPr>
            </a:lvl1pPr>
            <a:lvl2pPr marL="0" indent="0" algn="r">
              <a:spcBef>
                <a:spcPts val="0"/>
              </a:spcBef>
              <a:buFont typeface="Arial" panose="020B0604020202020204" pitchFamily="34" charset="0"/>
              <a:buChar char="​"/>
              <a:defRPr sz="1361" b="1">
                <a:solidFill>
                  <a:schemeClr val="bg1"/>
                </a:solidFill>
              </a:defRPr>
            </a:lvl2pPr>
            <a:lvl3pPr marL="0" indent="0" algn="r">
              <a:spcBef>
                <a:spcPts val="0"/>
              </a:spcBef>
              <a:buFont typeface="Arial" panose="020B0604020202020204" pitchFamily="34" charset="0"/>
              <a:buChar char="​"/>
              <a:defRPr sz="1361" b="1">
                <a:solidFill>
                  <a:schemeClr val="bg1"/>
                </a:solidFill>
              </a:defRPr>
            </a:lvl3pPr>
            <a:lvl4pPr marL="0" indent="0" algn="r">
              <a:spcBef>
                <a:spcPts val="0"/>
              </a:spcBef>
              <a:buFont typeface="Arial" panose="020B0604020202020204" pitchFamily="34" charset="0"/>
              <a:buChar char="​"/>
              <a:defRPr sz="1361" b="1">
                <a:solidFill>
                  <a:schemeClr val="bg1"/>
                </a:solidFill>
              </a:defRPr>
            </a:lvl4pPr>
            <a:lvl5pPr marL="0" indent="0" algn="r">
              <a:spcBef>
                <a:spcPts val="0"/>
              </a:spcBef>
              <a:buFont typeface="Arial" panose="020B0604020202020204" pitchFamily="34" charset="0"/>
              <a:buChar char="​"/>
              <a:defRPr sz="1361" b="1">
                <a:solidFill>
                  <a:schemeClr val="bg1"/>
                </a:solidFill>
              </a:defRPr>
            </a:lvl5pPr>
            <a:lvl6pPr marL="259226" indent="-259226" algn="r">
              <a:spcBef>
                <a:spcPts val="0"/>
              </a:spcBef>
              <a:buFont typeface="Arial" panose="020B0604020202020204" pitchFamily="34" charset="0"/>
              <a:buChar char="​"/>
              <a:defRPr sz="1361" b="1">
                <a:solidFill>
                  <a:schemeClr val="bg1"/>
                </a:solidFill>
              </a:defRPr>
            </a:lvl6pPr>
            <a:lvl7pPr marL="259226" indent="-259226" algn="r">
              <a:spcBef>
                <a:spcPts val="0"/>
              </a:spcBef>
              <a:buFont typeface="Arial" panose="020B0604020202020204" pitchFamily="34" charset="0"/>
              <a:buChar char="​"/>
              <a:defRPr sz="1361" b="1">
                <a:solidFill>
                  <a:schemeClr val="bg1"/>
                </a:solidFill>
              </a:defRPr>
            </a:lvl7pPr>
            <a:lvl8pPr marL="259226" indent="-259226" algn="r">
              <a:spcBef>
                <a:spcPts val="0"/>
              </a:spcBef>
              <a:buFont typeface="Arial" panose="020B0604020202020204" pitchFamily="34" charset="0"/>
              <a:buChar char="​"/>
              <a:defRPr sz="1361" b="1">
                <a:solidFill>
                  <a:schemeClr val="bg1"/>
                </a:solidFill>
              </a:defRPr>
            </a:lvl8pPr>
            <a:lvl9pPr marL="259226" indent="-259226" algn="r">
              <a:spcBef>
                <a:spcPts val="0"/>
              </a:spcBef>
              <a:buFont typeface="Arial" panose="020B0604020202020204" pitchFamily="34" charset="0"/>
              <a:buChar char="​"/>
              <a:defRPr sz="1361" b="1">
                <a:solidFill>
                  <a:schemeClr val="bg1"/>
                </a:solidFill>
              </a:defRPr>
            </a:lvl9pPr>
          </a:lstStyle>
          <a:p>
            <a:pPr lvl="0"/>
            <a:r>
              <a:rPr lang="en-GB" dirty="0"/>
              <a:t>Click to add subject or name</a:t>
            </a:r>
          </a:p>
        </p:txBody>
      </p:sp>
      <p:pic>
        <p:nvPicPr>
          <p:cNvPr id="10" name="Picture 9">
            <a:extLst>
              <a:ext uri="{FF2B5EF4-FFF2-40B4-BE49-F238E27FC236}">
                <a16:creationId xmlns:a16="http://schemas.microsoft.com/office/drawing/2014/main" id="{47F7F038-7832-44C4-B0E6-304EE856BCE2}"/>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575999" y="5759193"/>
            <a:ext cx="2262541" cy="619200"/>
          </a:xfrm>
          <a:prstGeom prst="rect">
            <a:avLst/>
          </a:prstGeom>
        </p:spPr>
      </p:pic>
    </p:spTree>
    <p:extLst>
      <p:ext uri="{BB962C8B-B14F-4D97-AF65-F5344CB8AC3E}">
        <p14:creationId xmlns:p14="http://schemas.microsoft.com/office/powerpoint/2010/main" val="757342982"/>
      </p:ext>
    </p:extLst>
  </p:cSld>
  <p:clrMapOvr>
    <a:masterClrMapping/>
  </p:clrMapOvr>
  <p:extLst>
    <p:ext uri="{DCECCB84-F9BA-43D5-87BE-67443E8EF086}">
      <p15:sldGuideLst xmlns:p15="http://schemas.microsoft.com/office/powerpoint/2012/main">
        <p15:guide id="6" pos="271">
          <p15:clr>
            <a:srgbClr val="FBAE40"/>
          </p15:clr>
        </p15:guide>
        <p15:guide id="7" pos="5488">
          <p15:clr>
            <a:srgbClr val="FBAE40"/>
          </p15:clr>
        </p15:guide>
        <p15:guide id="8" orient="horz" pos="317">
          <p15:clr>
            <a:srgbClr val="FBAE40"/>
          </p15:clr>
        </p15:guide>
        <p15:guide id="9" orient="horz" pos="1594">
          <p15:clr>
            <a:srgbClr val="FBAE40"/>
          </p15:clr>
        </p15:guide>
        <p15:guide id="10" orient="horz" pos="1567">
          <p15:clr>
            <a:srgbClr val="FBAE40"/>
          </p15:clr>
        </p15:guide>
        <p15:guide id="11" orient="horz" pos="193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A6BD60-3B12-41E3-A8F6-42FFDE972E63}"/>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4" name="Object 3" hidden="1">
                        <a:extLst>
                          <a:ext uri="{FF2B5EF4-FFF2-40B4-BE49-F238E27FC236}">
                            <a16:creationId xmlns:a16="http://schemas.microsoft.com/office/drawing/2014/main" id="{C3A6BD60-3B12-41E3-A8F6-42FFDE972E63}"/>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C546819-4A05-4387-BAA1-94FF54672D6D}"/>
              </a:ext>
            </a:extLst>
          </p:cNvPr>
          <p:cNvSpPr/>
          <p:nvPr userDrawn="1">
            <p:custDataLst>
              <p:tags r:id="rId2"/>
            </p:custDataLst>
          </p:nvPr>
        </p:nvSpPr>
        <p:spPr>
          <a:xfrm>
            <a:off x="0" y="0"/>
            <a:ext cx="211667" cy="21166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5000"/>
              </a:lnSpc>
              <a:spcBef>
                <a:spcPct val="0"/>
              </a:spcBef>
              <a:spcAft>
                <a:spcPct val="0"/>
              </a:spcAft>
            </a:pPr>
            <a:endParaRPr lang="en-GB" sz="1996" b="1" i="0" baseline="0" noProof="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Grå baggrund"/>
          <p:cNvSpPr/>
          <p:nvPr userDrawn="1"/>
        </p:nvSpPr>
        <p:spPr>
          <a:xfrm>
            <a:off x="1" y="1110392"/>
            <a:ext cx="12192000" cy="49640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pPr>
            <a:endParaRPr lang="en-GB" sz="1733" noProof="0" dirty="0">
              <a:latin typeface="Arial" panose="020B0604020202020204" pitchFamily="34" charset="0"/>
              <a:cs typeface="Arial" panose="020B0604020202020204" pitchFamily="34" charset="0"/>
              <a:sym typeface="Arial" panose="020B0604020202020204" pitchFamily="34" charset="0"/>
            </a:endParaRPr>
          </a:p>
        </p:txBody>
      </p:sp>
      <p:sp>
        <p:nvSpPr>
          <p:cNvPr id="3" name="Content Placeholder 2"/>
          <p:cNvSpPr>
            <a:spLocks noGrp="1"/>
          </p:cNvSpPr>
          <p:nvPr>
            <p:ph idx="1" hasCustomPrompt="1"/>
          </p:nvPr>
        </p:nvSpPr>
        <p:spPr>
          <a:xfrm>
            <a:off x="577851" y="1371008"/>
            <a:ext cx="11038416" cy="4560000"/>
          </a:xfrm>
        </p:spPr>
        <p:txBody>
          <a:bodyPr/>
          <a:lstStyle>
            <a:lvl1pPr marL="287993" indent="-287993">
              <a:lnSpc>
                <a:spcPct val="95000"/>
              </a:lnSpc>
              <a:spcBef>
                <a:spcPts val="1067"/>
              </a:spcBef>
              <a:buFont typeface="Arial" panose="020B0604020202020204" pitchFamily="34" charset="0"/>
              <a:buChar char="–"/>
              <a:defRPr sz="1733" b="0">
                <a:solidFill>
                  <a:schemeClr val="tx2"/>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2pPr>
            <a:lvl3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3pPr>
            <a:lvl4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4pPr>
            <a:lvl5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5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14"/>
          <p:cNvSpPr>
            <a:spLocks noGrp="1"/>
          </p:cNvSpPr>
          <p:nvPr>
            <p:ph type="body" sz="quarter" idx="26" hasCustomPrompt="1"/>
          </p:nvPr>
        </p:nvSpPr>
        <p:spPr>
          <a:xfrm>
            <a:off x="997921" y="6081601"/>
            <a:ext cx="5530109" cy="489879"/>
          </a:xfrm>
        </p:spPr>
        <p:txBody>
          <a:bodyPr anchor="b" anchorCtr="0"/>
          <a:lstStyle>
            <a:lvl1pPr>
              <a:lnSpc>
                <a:spcPct val="95000"/>
              </a:lnSpc>
              <a:spcBef>
                <a:spcPts val="0"/>
              </a:spcBef>
              <a:defRPr sz="933" b="0" baseline="0">
                <a:solidFill>
                  <a:schemeClr val="accent6"/>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8" name="Date Placeholder 7">
            <a:extLst>
              <a:ext uri="{FF2B5EF4-FFF2-40B4-BE49-F238E27FC236}">
                <a16:creationId xmlns:a16="http://schemas.microsoft.com/office/drawing/2014/main" id="{6D87ED0A-A3D8-4F4A-A196-7595A36A4E0F}"/>
              </a:ext>
            </a:extLst>
          </p:cNvPr>
          <p:cNvSpPr>
            <a:spLocks noGrp="1"/>
          </p:cNvSpPr>
          <p:nvPr>
            <p:ph type="dt" sz="half" idx="27"/>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9" name="Footer Placeholder 8">
            <a:extLst>
              <a:ext uri="{FF2B5EF4-FFF2-40B4-BE49-F238E27FC236}">
                <a16:creationId xmlns:a16="http://schemas.microsoft.com/office/drawing/2014/main" id="{0875E95C-C4E6-4CD0-A7E2-46D6189AEBAB}"/>
              </a:ext>
            </a:extLst>
          </p:cNvPr>
          <p:cNvSpPr>
            <a:spLocks noGrp="1"/>
          </p:cNvSpPr>
          <p:nvPr>
            <p:ph type="ftr" sz="quarter" idx="28"/>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11" name="Slide Number Placeholder 10">
            <a:extLst>
              <a:ext uri="{FF2B5EF4-FFF2-40B4-BE49-F238E27FC236}">
                <a16:creationId xmlns:a16="http://schemas.microsoft.com/office/drawing/2014/main" id="{451F2DE0-1373-44A0-9FD9-F5984DD85E87}"/>
              </a:ext>
            </a:extLst>
          </p:cNvPr>
          <p:cNvSpPr>
            <a:spLocks noGrp="1"/>
          </p:cNvSpPr>
          <p:nvPr>
            <p:ph type="sldNum" sz="quarter" idx="29"/>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24C8C45C-947F-4981-8B3F-4F32E973C901}" type="slidenum">
              <a:rPr lang="en-GB" smtClean="0"/>
              <a:pPr/>
              <a:t>‹#›</a:t>
            </a:fld>
            <a:endParaRPr lang="en-GB" dirty="0"/>
          </a:p>
        </p:txBody>
      </p:sp>
      <p:sp>
        <p:nvSpPr>
          <p:cNvPr id="13" name="Title 12">
            <a:extLst>
              <a:ext uri="{FF2B5EF4-FFF2-40B4-BE49-F238E27FC236}">
                <a16:creationId xmlns:a16="http://schemas.microsoft.com/office/drawing/2014/main" id="{8D7B5B42-7771-478B-B707-451694DA9466}"/>
              </a:ext>
            </a:extLst>
          </p:cNvPr>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GB"/>
              <a:t>Click to edit Master title style</a:t>
            </a:r>
            <a:endParaRPr lang="en-GB" dirty="0"/>
          </a:p>
        </p:txBody>
      </p:sp>
    </p:spTree>
    <p:extLst>
      <p:ext uri="{BB962C8B-B14F-4D97-AF65-F5344CB8AC3E}">
        <p14:creationId xmlns:p14="http://schemas.microsoft.com/office/powerpoint/2010/main" val="2839191814"/>
      </p:ext>
    </p:extLst>
  </p:cSld>
  <p:clrMapOvr>
    <a:masterClrMapping/>
  </p:clrMapOvr>
  <p:extLst>
    <p:ext uri="{DCECCB84-F9BA-43D5-87BE-67443E8EF086}">
      <p15:sldGuideLst xmlns:p15="http://schemas.microsoft.com/office/powerpoint/2012/main">
        <p15:guide id="1" orient="horz" pos="647">
          <p15:clr>
            <a:srgbClr val="FBAE40"/>
          </p15:clr>
        </p15:guide>
        <p15:guide id="2" pos="2880">
          <p15:clr>
            <a:srgbClr val="FBAE40"/>
          </p15:clr>
        </p15:guide>
        <p15:guide id="3" orient="horz" pos="522">
          <p15:clr>
            <a:srgbClr val="FBAE40"/>
          </p15:clr>
        </p15:guide>
        <p15:guide id="4" orient="horz" pos="158">
          <p15:clr>
            <a:srgbClr val="FBAE40"/>
          </p15:clr>
        </p15:guide>
        <p15:guide id="5" orient="horz" pos="2803">
          <p15:clr>
            <a:srgbClr val="FBAE40"/>
          </p15:clr>
        </p15:guide>
        <p15:guide id="6" pos="272">
          <p15:clr>
            <a:srgbClr val="FBAE40"/>
          </p15:clr>
        </p15:guide>
        <p15:guide id="7" pos="548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A6BD60-3B12-41E3-A8F6-42FFDE972E63}"/>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4" name="Object 3" hidden="1">
                        <a:extLst>
                          <a:ext uri="{FF2B5EF4-FFF2-40B4-BE49-F238E27FC236}">
                            <a16:creationId xmlns:a16="http://schemas.microsoft.com/office/drawing/2014/main" id="{C3A6BD60-3B12-41E3-A8F6-42FFDE972E63}"/>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C546819-4A05-4387-BAA1-94FF54672D6D}"/>
              </a:ext>
            </a:extLst>
          </p:cNvPr>
          <p:cNvSpPr/>
          <p:nvPr userDrawn="1">
            <p:custDataLst>
              <p:tags r:id="rId2"/>
            </p:custDataLst>
          </p:nvPr>
        </p:nvSpPr>
        <p:spPr>
          <a:xfrm>
            <a:off x="0" y="0"/>
            <a:ext cx="211667" cy="21166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5000"/>
              </a:lnSpc>
              <a:spcBef>
                <a:spcPct val="0"/>
              </a:spcBef>
              <a:spcAft>
                <a:spcPct val="0"/>
              </a:spcAft>
            </a:pPr>
            <a:endParaRPr lang="en-GB" sz="1996" b="1" i="0" baseline="0" noProof="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ontent Placeholder 2"/>
          <p:cNvSpPr>
            <a:spLocks noGrp="1"/>
          </p:cNvSpPr>
          <p:nvPr>
            <p:ph idx="1" hasCustomPrompt="1"/>
          </p:nvPr>
        </p:nvSpPr>
        <p:spPr>
          <a:xfrm>
            <a:off x="577851" y="1371008"/>
            <a:ext cx="11038416" cy="4560000"/>
          </a:xfrm>
        </p:spPr>
        <p:txBody>
          <a:bodyPr/>
          <a:lstStyle>
            <a:lvl1pPr marL="287993" indent="-287993">
              <a:lnSpc>
                <a:spcPct val="95000"/>
              </a:lnSpc>
              <a:spcBef>
                <a:spcPts val="1067"/>
              </a:spcBef>
              <a:buFont typeface="Arial" panose="020B0604020202020204" pitchFamily="34" charset="0"/>
              <a:buChar char="–"/>
              <a:defRPr sz="1733" b="0">
                <a:solidFill>
                  <a:schemeClr val="tx2"/>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2pPr>
            <a:lvl3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3pPr>
            <a:lvl4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4pPr>
            <a:lvl5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5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14"/>
          <p:cNvSpPr>
            <a:spLocks noGrp="1"/>
          </p:cNvSpPr>
          <p:nvPr>
            <p:ph type="body" sz="quarter" idx="26" hasCustomPrompt="1"/>
          </p:nvPr>
        </p:nvSpPr>
        <p:spPr>
          <a:xfrm>
            <a:off x="997921" y="6081601"/>
            <a:ext cx="5530109" cy="489879"/>
          </a:xfrm>
        </p:spPr>
        <p:txBody>
          <a:bodyPr anchor="b" anchorCtr="0"/>
          <a:lstStyle>
            <a:lvl1pPr>
              <a:lnSpc>
                <a:spcPct val="95000"/>
              </a:lnSpc>
              <a:spcBef>
                <a:spcPts val="0"/>
              </a:spcBef>
              <a:defRPr sz="933" b="0" baseline="0">
                <a:solidFill>
                  <a:schemeClr val="accent6"/>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8" name="Date Placeholder 7">
            <a:extLst>
              <a:ext uri="{FF2B5EF4-FFF2-40B4-BE49-F238E27FC236}">
                <a16:creationId xmlns:a16="http://schemas.microsoft.com/office/drawing/2014/main" id="{6D87ED0A-A3D8-4F4A-A196-7595A36A4E0F}"/>
              </a:ext>
            </a:extLst>
          </p:cNvPr>
          <p:cNvSpPr>
            <a:spLocks noGrp="1"/>
          </p:cNvSpPr>
          <p:nvPr>
            <p:ph type="dt" sz="half" idx="27"/>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9" name="Footer Placeholder 8">
            <a:extLst>
              <a:ext uri="{FF2B5EF4-FFF2-40B4-BE49-F238E27FC236}">
                <a16:creationId xmlns:a16="http://schemas.microsoft.com/office/drawing/2014/main" id="{0875E95C-C4E6-4CD0-A7E2-46D6189AEBAB}"/>
              </a:ext>
            </a:extLst>
          </p:cNvPr>
          <p:cNvSpPr>
            <a:spLocks noGrp="1"/>
          </p:cNvSpPr>
          <p:nvPr>
            <p:ph type="ftr" sz="quarter" idx="28"/>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11" name="Slide Number Placeholder 10">
            <a:extLst>
              <a:ext uri="{FF2B5EF4-FFF2-40B4-BE49-F238E27FC236}">
                <a16:creationId xmlns:a16="http://schemas.microsoft.com/office/drawing/2014/main" id="{451F2DE0-1373-44A0-9FD9-F5984DD85E87}"/>
              </a:ext>
            </a:extLst>
          </p:cNvPr>
          <p:cNvSpPr>
            <a:spLocks noGrp="1"/>
          </p:cNvSpPr>
          <p:nvPr>
            <p:ph type="sldNum" sz="quarter" idx="29"/>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24C8C45C-947F-4981-8B3F-4F32E973C901}" type="slidenum">
              <a:rPr lang="en-GB" smtClean="0"/>
              <a:pPr/>
              <a:t>‹#›</a:t>
            </a:fld>
            <a:endParaRPr lang="en-GB" dirty="0"/>
          </a:p>
        </p:txBody>
      </p:sp>
      <p:sp>
        <p:nvSpPr>
          <p:cNvPr id="13" name="Title 12">
            <a:extLst>
              <a:ext uri="{FF2B5EF4-FFF2-40B4-BE49-F238E27FC236}">
                <a16:creationId xmlns:a16="http://schemas.microsoft.com/office/drawing/2014/main" id="{8D7B5B42-7771-478B-B707-451694DA9466}"/>
              </a:ext>
            </a:extLst>
          </p:cNvPr>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GB"/>
              <a:t>Click to edit Master title style</a:t>
            </a:r>
            <a:endParaRPr lang="en-GB" dirty="0"/>
          </a:p>
        </p:txBody>
      </p:sp>
    </p:spTree>
    <p:extLst>
      <p:ext uri="{BB962C8B-B14F-4D97-AF65-F5344CB8AC3E}">
        <p14:creationId xmlns:p14="http://schemas.microsoft.com/office/powerpoint/2010/main" val="1941684802"/>
      </p:ext>
    </p:extLst>
  </p:cSld>
  <p:clrMapOvr>
    <a:masterClrMapping/>
  </p:clrMapOvr>
  <p:extLst>
    <p:ext uri="{DCECCB84-F9BA-43D5-87BE-67443E8EF086}">
      <p15:sldGuideLst xmlns:p15="http://schemas.microsoft.com/office/powerpoint/2012/main">
        <p15:guide id="1" orient="horz" pos="647">
          <p15:clr>
            <a:srgbClr val="FBAE40"/>
          </p15:clr>
        </p15:guide>
        <p15:guide id="2" pos="2880">
          <p15:clr>
            <a:srgbClr val="FBAE40"/>
          </p15:clr>
        </p15:guide>
        <p15:guide id="3" orient="horz" pos="522">
          <p15:clr>
            <a:srgbClr val="FBAE40"/>
          </p15:clr>
        </p15:guide>
        <p15:guide id="4" orient="horz" pos="158">
          <p15:clr>
            <a:srgbClr val="FBAE40"/>
          </p15:clr>
        </p15:guide>
        <p15:guide id="5" orient="horz" pos="2803">
          <p15:clr>
            <a:srgbClr val="FBAE40"/>
          </p15:clr>
        </p15:guide>
        <p15:guide id="6" pos="272">
          <p15:clr>
            <a:srgbClr val="FBAE40"/>
          </p15:clr>
        </p15:guide>
        <p15:guide id="7" pos="54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INTRO">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E11FBAF8-F67E-8C4F-93C7-5212A8CCAF34}"/>
              </a:ext>
            </a:extLst>
          </p:cNvPr>
          <p:cNvSpPr/>
          <p:nvPr/>
        </p:nvSpPr>
        <p:spPr>
          <a:xfrm>
            <a:off x="1593130" y="1777993"/>
            <a:ext cx="7286919" cy="33313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1">
            <a:extLst>
              <a:ext uri="{FF2B5EF4-FFF2-40B4-BE49-F238E27FC236}">
                <a16:creationId xmlns:a16="http://schemas.microsoft.com/office/drawing/2014/main" id="{EAF27D59-4236-2040-B62F-72DA9623B435}"/>
              </a:ext>
            </a:extLst>
          </p:cNvPr>
          <p:cNvSpPr txBox="1">
            <a:spLocks/>
          </p:cNvSpPr>
          <p:nvPr/>
        </p:nvSpPr>
        <p:spPr>
          <a:xfrm>
            <a:off x="1593130" y="3116599"/>
            <a:ext cx="7286919" cy="1992729"/>
          </a:xfrm>
          <a:prstGeom prst="rect">
            <a:avLst/>
          </a:prstGeom>
        </p:spPr>
        <p:txBody>
          <a:bodyPr anchor="t"/>
          <a:lstStyle>
            <a:lvl1pPr algn="l" defTabSz="914377" rtl="0" eaLnBrk="1" latinLnBrk="0" hangingPunct="1">
              <a:lnSpc>
                <a:spcPct val="90000"/>
              </a:lnSpc>
              <a:spcBef>
                <a:spcPct val="0"/>
              </a:spcBef>
              <a:buNone/>
              <a:defRPr sz="4800" b="0" i="0" kern="1200">
                <a:solidFill>
                  <a:srgbClr val="E8BC28"/>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endParaRPr lang="en-US" sz="3600" dirty="0"/>
          </a:p>
        </p:txBody>
      </p:sp>
      <p:sp>
        <p:nvSpPr>
          <p:cNvPr id="16" name="Text Placeholder 15">
            <a:extLst>
              <a:ext uri="{FF2B5EF4-FFF2-40B4-BE49-F238E27FC236}">
                <a16:creationId xmlns:a16="http://schemas.microsoft.com/office/drawing/2014/main" id="{247F625A-C423-F940-95B5-018982D204D5}"/>
              </a:ext>
            </a:extLst>
          </p:cNvPr>
          <p:cNvSpPr>
            <a:spLocks noGrp="1"/>
          </p:cNvSpPr>
          <p:nvPr>
            <p:ph type="body" sz="quarter" idx="10"/>
          </p:nvPr>
        </p:nvSpPr>
        <p:spPr>
          <a:xfrm>
            <a:off x="1697037" y="3289300"/>
            <a:ext cx="7079317" cy="1677988"/>
          </a:xfrm>
          <a:prstGeom prst="rect">
            <a:avLst/>
          </a:prstGeom>
        </p:spPr>
        <p:txBody>
          <a:bodyPr/>
          <a:lstStyle>
            <a:lvl1pPr marL="0" indent="0">
              <a:buNone/>
              <a:defRPr sz="1600" b="0" i="0">
                <a:solidFill>
                  <a:srgbClr val="FFBF22"/>
                </a:solidFill>
                <a:latin typeface="Helvetica Neue LT Std 45 Light" panose="020B0403020202020204" pitchFamily="34" charset="0"/>
              </a:defRPr>
            </a:lvl1pPr>
            <a:lvl2pPr marL="457189" indent="0">
              <a:buNone/>
              <a:defRPr sz="1800" b="0" i="0">
                <a:solidFill>
                  <a:srgbClr val="E8BC28"/>
                </a:solidFill>
                <a:latin typeface="Helvetica Neue LT Std 45 Light" panose="020B0403020202020204" pitchFamily="34" charset="0"/>
              </a:defRPr>
            </a:lvl2pPr>
            <a:lvl3pPr marL="914377" indent="0">
              <a:buNone/>
              <a:defRPr sz="1600" b="0" i="0">
                <a:solidFill>
                  <a:srgbClr val="E8BC28"/>
                </a:solidFill>
                <a:latin typeface="Helvetica Neue LT Std 45 Light" panose="020B0403020202020204" pitchFamily="34" charset="0"/>
              </a:defRPr>
            </a:lvl3pPr>
            <a:lvl4pPr marL="1371566" indent="0">
              <a:buNone/>
              <a:defRPr sz="1400" b="0" i="0">
                <a:solidFill>
                  <a:srgbClr val="E8BC28"/>
                </a:solidFill>
                <a:latin typeface="Helvetica Neue LT Std 45 Light" panose="020B0403020202020204" pitchFamily="34" charset="0"/>
              </a:defRPr>
            </a:lvl4pPr>
            <a:lvl5pPr marL="1828755" indent="0">
              <a:buNone/>
              <a:defRPr sz="1400" b="0" i="0">
                <a:solidFill>
                  <a:srgbClr val="E8BC28"/>
                </a:solidFill>
                <a:latin typeface="Helvetica Neue LT Std 45 Light" panose="020B0403020202020204" pitchFamily="34" charset="0"/>
              </a:defRPr>
            </a:lvl5pPr>
          </a:lstStyle>
          <a:p>
            <a:pPr lvl="0"/>
            <a:r>
              <a:rPr lang="en-GB" dirty="0"/>
              <a:t>Click to edit Master text styles</a:t>
            </a:r>
          </a:p>
        </p:txBody>
      </p:sp>
      <p:sp>
        <p:nvSpPr>
          <p:cNvPr id="19" name="Text Placeholder 18">
            <a:extLst>
              <a:ext uri="{FF2B5EF4-FFF2-40B4-BE49-F238E27FC236}">
                <a16:creationId xmlns:a16="http://schemas.microsoft.com/office/drawing/2014/main" id="{1DCE5CB2-23E7-944B-A874-B6ADE8A53EF1}"/>
              </a:ext>
            </a:extLst>
          </p:cNvPr>
          <p:cNvSpPr>
            <a:spLocks noGrp="1"/>
          </p:cNvSpPr>
          <p:nvPr>
            <p:ph type="body" sz="quarter" idx="11"/>
          </p:nvPr>
        </p:nvSpPr>
        <p:spPr>
          <a:xfrm>
            <a:off x="1697037" y="1885223"/>
            <a:ext cx="7079318" cy="1227137"/>
          </a:xfrm>
          <a:prstGeom prst="rect">
            <a:avLst/>
          </a:prstGeom>
        </p:spPr>
        <p:txBody>
          <a:bodyPr/>
          <a:lstStyle>
            <a:lvl1pPr marL="0" indent="0">
              <a:buNone/>
              <a:defRPr sz="4800" b="0" i="0">
                <a:solidFill>
                  <a:srgbClr val="FFBF22"/>
                </a:solidFill>
                <a:latin typeface="Helvetica Neue LT Std 65 Medium" panose="020B0604020202020204" pitchFamily="34" charset="0"/>
              </a:defRPr>
            </a:lvl1pPr>
          </a:lstStyle>
          <a:p>
            <a:pPr lvl="0"/>
            <a:r>
              <a:rPr lang="en-GB" dirty="0"/>
              <a:t>Click to edit Master text styles</a:t>
            </a:r>
          </a:p>
        </p:txBody>
      </p:sp>
      <p:grpSp>
        <p:nvGrpSpPr>
          <p:cNvPr id="2" name="Group 1">
            <a:extLst>
              <a:ext uri="{FF2B5EF4-FFF2-40B4-BE49-F238E27FC236}">
                <a16:creationId xmlns:a16="http://schemas.microsoft.com/office/drawing/2014/main" id="{131008A5-1E2A-D74A-A5EA-31B620D704E1}"/>
              </a:ext>
            </a:extLst>
          </p:cNvPr>
          <p:cNvGrpSpPr/>
          <p:nvPr userDrawn="1"/>
        </p:nvGrpSpPr>
        <p:grpSpPr>
          <a:xfrm>
            <a:off x="0" y="0"/>
            <a:ext cx="12192000" cy="6858000"/>
            <a:chOff x="0" y="0"/>
            <a:chExt cx="12192000" cy="6858000"/>
          </a:xfrm>
        </p:grpSpPr>
        <p:pic>
          <p:nvPicPr>
            <p:cNvPr id="7" name="Picture 6" descr="A close up of a cable&#10;&#10;Description automatically generated">
              <a:extLst>
                <a:ext uri="{FF2B5EF4-FFF2-40B4-BE49-F238E27FC236}">
                  <a16:creationId xmlns:a16="http://schemas.microsoft.com/office/drawing/2014/main" id="{5404E37C-C7FD-044A-9344-97CB07453AF2}"/>
                </a:ext>
              </a:extLst>
            </p:cNvPr>
            <p:cNvPicPr>
              <a:picLocks noChangeAspect="1"/>
            </p:cNvPicPr>
            <p:nvPr/>
          </p:nvPicPr>
          <p:blipFill>
            <a:blip r:embed="rId2">
              <a:extLst>
                <a:ext uri="{BEBA8EAE-BF5A-486C-A8C5-ECC9F3942E4B}">
                  <a14:imgProps xmlns:a14="http://schemas.microsoft.com/office/drawing/2010/main">
                    <a14:imgLayer r:embed="rId3">
                      <a14:imgEffect>
                        <a14:saturation sat="400000"/>
                      </a14:imgEffect>
                      <a14:imgEffect>
                        <a14:brightnessContrast contrast="20000"/>
                      </a14:imgEffect>
                    </a14:imgLayer>
                  </a14:imgProps>
                </a:ext>
              </a:extLst>
            </a:blip>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FDCDE178-F199-F04B-AF12-FB14043FCC5F}"/>
                </a:ext>
              </a:extLst>
            </p:cNvPr>
            <p:cNvPicPr>
              <a:picLocks noChangeAspect="1"/>
            </p:cNvPicPr>
            <p:nvPr userDrawn="1"/>
          </p:nvPicPr>
          <p:blipFill>
            <a:blip r:embed="rId4"/>
            <a:stretch>
              <a:fillRect/>
            </a:stretch>
          </p:blipFill>
          <p:spPr>
            <a:xfrm>
              <a:off x="0" y="5816600"/>
              <a:ext cx="12192000" cy="1041400"/>
            </a:xfrm>
            <a:prstGeom prst="rect">
              <a:avLst/>
            </a:prstGeom>
          </p:spPr>
        </p:pic>
      </p:grpSp>
    </p:spTree>
    <p:extLst>
      <p:ext uri="{BB962C8B-B14F-4D97-AF65-F5344CB8AC3E}">
        <p14:creationId xmlns:p14="http://schemas.microsoft.com/office/powerpoint/2010/main" val="4683380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103534F-97C6-4428-9220-5F8A71DCBE21}"/>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2103534F-97C6-4428-9220-5F8A71DCBE21}"/>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EDD3C24-6568-43F3-B4B3-B244D34B6DFC}"/>
              </a:ext>
            </a:extLst>
          </p:cNvPr>
          <p:cNvSpPr/>
          <p:nvPr userDrawn="1">
            <p:custDataLst>
              <p:tags r:id="rId2"/>
            </p:custDataLst>
          </p:nvPr>
        </p:nvSpPr>
        <p:spPr>
          <a:xfrm>
            <a:off x="0" y="0"/>
            <a:ext cx="211667" cy="21166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5000"/>
              </a:lnSpc>
              <a:spcBef>
                <a:spcPct val="0"/>
              </a:spcBef>
              <a:spcAft>
                <a:spcPct val="0"/>
              </a:spcAft>
            </a:pPr>
            <a:endParaRPr lang="en-GB" sz="1996" b="1" i="0" baseline="0" noProof="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Grå baggrund 1"/>
          <p:cNvSpPr/>
          <p:nvPr userDrawn="1"/>
        </p:nvSpPr>
        <p:spPr>
          <a:xfrm>
            <a:off x="1" y="1110392"/>
            <a:ext cx="6034529" cy="49640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2000"/>
              </a:spcBef>
            </a:pPr>
            <a:endParaRPr lang="en-GB" sz="1733" noProof="0" dirty="0">
              <a:latin typeface="Arial" panose="020B0604020202020204" pitchFamily="34" charset="0"/>
              <a:cs typeface="Arial" panose="020B0604020202020204" pitchFamily="34" charset="0"/>
              <a:sym typeface="Arial" panose="020B0604020202020204" pitchFamily="34" charset="0"/>
            </a:endParaRPr>
          </a:p>
        </p:txBody>
      </p:sp>
      <p:sp>
        <p:nvSpPr>
          <p:cNvPr id="13" name="Grå baggrund 3"/>
          <p:cNvSpPr/>
          <p:nvPr userDrawn="1"/>
        </p:nvSpPr>
        <p:spPr>
          <a:xfrm>
            <a:off x="6157685" y="1110392"/>
            <a:ext cx="6034529" cy="49640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2000"/>
              </a:spcBef>
            </a:pPr>
            <a:endParaRPr lang="en-GB" sz="1733" noProof="0" dirty="0">
              <a:latin typeface="Arial" panose="020B0604020202020204" pitchFamily="34" charset="0"/>
              <a:cs typeface="Arial" panose="020B0604020202020204" pitchFamily="34" charset="0"/>
              <a:sym typeface="Arial" panose="020B0604020202020204" pitchFamily="34" charset="0"/>
            </a:endParaRPr>
          </a:p>
        </p:txBody>
      </p:sp>
      <p:sp>
        <p:nvSpPr>
          <p:cNvPr id="14" name="Content Placeholder 2"/>
          <p:cNvSpPr>
            <a:spLocks noGrp="1"/>
          </p:cNvSpPr>
          <p:nvPr>
            <p:ph idx="1" hasCustomPrompt="1"/>
          </p:nvPr>
        </p:nvSpPr>
        <p:spPr>
          <a:xfrm>
            <a:off x="575999" y="1371025"/>
            <a:ext cx="5184000" cy="4416000"/>
          </a:xfrm>
        </p:spPr>
        <p:txBody>
          <a:bodyPr/>
          <a:lstStyle>
            <a:lvl1pPr marL="287993" indent="-287993">
              <a:lnSpc>
                <a:spcPct val="95000"/>
              </a:lnSpc>
              <a:spcBef>
                <a:spcPts val="1067"/>
              </a:spcBef>
              <a:buFont typeface="Arial" panose="020B0604020202020204" pitchFamily="34" charset="0"/>
              <a:buChar char="–"/>
              <a:defRPr sz="1733" b="0">
                <a:solidFill>
                  <a:schemeClr val="tx2"/>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2pPr>
            <a:lvl3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3pPr>
            <a:lvl4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4pPr>
            <a:lvl5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5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5" name="Content Placeholder 2"/>
          <p:cNvSpPr>
            <a:spLocks noGrp="1"/>
          </p:cNvSpPr>
          <p:nvPr>
            <p:ph idx="29" hasCustomPrompt="1"/>
          </p:nvPr>
        </p:nvSpPr>
        <p:spPr>
          <a:xfrm>
            <a:off x="6429581" y="1371025"/>
            <a:ext cx="5184000" cy="4416000"/>
          </a:xfrm>
        </p:spPr>
        <p:txBody>
          <a:bodyPr/>
          <a:lstStyle>
            <a:lvl1pPr marL="287993" indent="-287993">
              <a:lnSpc>
                <a:spcPct val="95000"/>
              </a:lnSpc>
              <a:spcBef>
                <a:spcPts val="1067"/>
              </a:spcBef>
              <a:buFont typeface="Arial" panose="020B0604020202020204" pitchFamily="34" charset="0"/>
              <a:buChar char="–"/>
              <a:defRPr sz="1733" b="0">
                <a:solidFill>
                  <a:schemeClr val="tx2"/>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2pPr>
            <a:lvl3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3pPr>
            <a:lvl4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4pPr>
            <a:lvl5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5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Text Placeholder 14">
            <a:extLst>
              <a:ext uri="{FF2B5EF4-FFF2-40B4-BE49-F238E27FC236}">
                <a16:creationId xmlns:a16="http://schemas.microsoft.com/office/drawing/2014/main" id="{9F714630-8AA7-4D22-97B5-AFB4270C37B7}"/>
              </a:ext>
            </a:extLst>
          </p:cNvPr>
          <p:cNvSpPr>
            <a:spLocks noGrp="1"/>
          </p:cNvSpPr>
          <p:nvPr>
            <p:ph type="body" sz="quarter" idx="26" hasCustomPrompt="1"/>
          </p:nvPr>
        </p:nvSpPr>
        <p:spPr>
          <a:xfrm>
            <a:off x="997921" y="6081601"/>
            <a:ext cx="5530109" cy="489879"/>
          </a:xfrm>
        </p:spPr>
        <p:txBody>
          <a:bodyPr anchor="b" anchorCtr="0"/>
          <a:lstStyle>
            <a:lvl1pPr>
              <a:lnSpc>
                <a:spcPct val="95000"/>
              </a:lnSpc>
              <a:spcBef>
                <a:spcPts val="0"/>
              </a:spcBef>
              <a:defRPr sz="933" b="0" baseline="0">
                <a:solidFill>
                  <a:schemeClr val="accent6"/>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6" name="Date Placeholder 5">
            <a:extLst>
              <a:ext uri="{FF2B5EF4-FFF2-40B4-BE49-F238E27FC236}">
                <a16:creationId xmlns:a16="http://schemas.microsoft.com/office/drawing/2014/main" id="{80C3D4E1-B541-409C-BF48-DBCCB98DC3DA}"/>
              </a:ext>
            </a:extLst>
          </p:cNvPr>
          <p:cNvSpPr>
            <a:spLocks noGrp="1"/>
          </p:cNvSpPr>
          <p:nvPr>
            <p:ph type="dt" sz="half" idx="3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7" name="Footer Placeholder 6">
            <a:extLst>
              <a:ext uri="{FF2B5EF4-FFF2-40B4-BE49-F238E27FC236}">
                <a16:creationId xmlns:a16="http://schemas.microsoft.com/office/drawing/2014/main" id="{7BDD9F34-6784-45C2-81E2-98EE4E74DD2A}"/>
              </a:ext>
            </a:extLst>
          </p:cNvPr>
          <p:cNvSpPr>
            <a:spLocks noGrp="1"/>
          </p:cNvSpPr>
          <p:nvPr>
            <p:ph type="ftr" sz="quarter" idx="31"/>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8" name="Slide Number Placeholder 7">
            <a:extLst>
              <a:ext uri="{FF2B5EF4-FFF2-40B4-BE49-F238E27FC236}">
                <a16:creationId xmlns:a16="http://schemas.microsoft.com/office/drawing/2014/main" id="{0BF032FD-2BC7-48E4-8FA2-9CF16107E191}"/>
              </a:ext>
            </a:extLst>
          </p:cNvPr>
          <p:cNvSpPr>
            <a:spLocks noGrp="1"/>
          </p:cNvSpPr>
          <p:nvPr>
            <p:ph type="sldNum" sz="quarter" idx="3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24C8C45C-947F-4981-8B3F-4F32E973C901}" type="slidenum">
              <a:rPr lang="en-GB" smtClean="0"/>
              <a:pPr/>
              <a:t>‹#›</a:t>
            </a:fld>
            <a:endParaRPr lang="en-GB" dirty="0"/>
          </a:p>
        </p:txBody>
      </p:sp>
      <p:sp>
        <p:nvSpPr>
          <p:cNvPr id="16" name="Title 15">
            <a:extLst>
              <a:ext uri="{FF2B5EF4-FFF2-40B4-BE49-F238E27FC236}">
                <a16:creationId xmlns:a16="http://schemas.microsoft.com/office/drawing/2014/main" id="{3AF2ECDF-1B89-4873-8C29-702E24E546FE}"/>
              </a:ext>
            </a:extLst>
          </p:cNvPr>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GB"/>
              <a:t>Click to edit Master title style</a:t>
            </a:r>
            <a:endParaRPr lang="en-GB" dirty="0"/>
          </a:p>
        </p:txBody>
      </p:sp>
    </p:spTree>
    <p:extLst>
      <p:ext uri="{BB962C8B-B14F-4D97-AF65-F5344CB8AC3E}">
        <p14:creationId xmlns:p14="http://schemas.microsoft.com/office/powerpoint/2010/main" val="114513852"/>
      </p:ext>
    </p:extLst>
  </p:cSld>
  <p:clrMapOvr>
    <a:masterClrMapping/>
  </p:clrMapOvr>
  <p:extLst>
    <p:ext uri="{DCECCB84-F9BA-43D5-87BE-67443E8EF086}">
      <p15:sldGuideLst xmlns:p15="http://schemas.microsoft.com/office/powerpoint/2012/main">
        <p15:guide id="1" orient="horz" pos="153">
          <p15:clr>
            <a:srgbClr val="FBAE40"/>
          </p15:clr>
        </p15:guide>
        <p15:guide id="2" pos="272">
          <p15:clr>
            <a:srgbClr val="FBAE40"/>
          </p15:clr>
        </p15:guide>
        <p15:guide id="3" pos="5488">
          <p15:clr>
            <a:srgbClr val="FBAE40"/>
          </p15:clr>
        </p15:guide>
        <p15:guide id="4" orient="horz" pos="519">
          <p15:clr>
            <a:srgbClr val="FBAE40"/>
          </p15:clr>
        </p15:guide>
        <p15:guide id="5" orient="horz" pos="647">
          <p15:clr>
            <a:srgbClr val="FBAE40"/>
          </p15:clr>
        </p15:guide>
        <p15:guide id="6" orient="horz" pos="2747">
          <p15:clr>
            <a:srgbClr val="FBAE40"/>
          </p15:clr>
        </p15:guide>
        <p15:guide id="7" pos="2721">
          <p15:clr>
            <a:srgbClr val="FBAE40"/>
          </p15:clr>
        </p15:guide>
        <p15:guide id="8" pos="3039">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ntent (Colou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4713022-B176-4C51-8927-634F93DA557E}"/>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E4713022-B176-4C51-8927-634F93DA557E}"/>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62BA3EA-BA52-48A5-A9E4-4B0B6BE8FBAB}"/>
              </a:ext>
            </a:extLst>
          </p:cNvPr>
          <p:cNvSpPr/>
          <p:nvPr userDrawn="1">
            <p:custDataLst>
              <p:tags r:id="rId2"/>
            </p:custDataLst>
          </p:nvPr>
        </p:nvSpPr>
        <p:spPr>
          <a:xfrm>
            <a:off x="0" y="0"/>
            <a:ext cx="211667" cy="21166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5000"/>
              </a:lnSpc>
              <a:spcBef>
                <a:spcPct val="0"/>
              </a:spcBef>
              <a:spcAft>
                <a:spcPct val="0"/>
              </a:spcAft>
            </a:pPr>
            <a:endParaRPr lang="en-GB" sz="1996" b="1" i="0" baseline="0" noProof="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Grå baggrund 1"/>
          <p:cNvSpPr/>
          <p:nvPr userDrawn="1"/>
        </p:nvSpPr>
        <p:spPr>
          <a:xfrm>
            <a:off x="1" y="1110392"/>
            <a:ext cx="6034529" cy="4964099"/>
          </a:xfrm>
          <a:prstGeom prst="rect">
            <a:avLst/>
          </a:prstGeom>
          <a:solidFill>
            <a:srgbClr val="644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2000"/>
              </a:spcBef>
            </a:pPr>
            <a:endParaRPr lang="en-GB" sz="1733" noProof="0" dirty="0">
              <a:latin typeface="Arial" panose="020B0604020202020204" pitchFamily="34" charset="0"/>
              <a:cs typeface="Arial" panose="020B0604020202020204" pitchFamily="34" charset="0"/>
              <a:sym typeface="Arial" panose="020B0604020202020204" pitchFamily="34" charset="0"/>
            </a:endParaRPr>
          </a:p>
        </p:txBody>
      </p:sp>
      <p:sp>
        <p:nvSpPr>
          <p:cNvPr id="13" name="Grå baggrund 3"/>
          <p:cNvSpPr/>
          <p:nvPr userDrawn="1"/>
        </p:nvSpPr>
        <p:spPr>
          <a:xfrm>
            <a:off x="6157685" y="1110392"/>
            <a:ext cx="6034529" cy="49640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2000"/>
              </a:spcBef>
            </a:pPr>
            <a:endParaRPr lang="en-GB" sz="1733" noProof="0" dirty="0">
              <a:latin typeface="Arial" panose="020B0604020202020204" pitchFamily="34" charset="0"/>
              <a:cs typeface="Arial" panose="020B0604020202020204" pitchFamily="34" charset="0"/>
              <a:sym typeface="Arial" panose="020B0604020202020204" pitchFamily="34" charset="0"/>
            </a:endParaRPr>
          </a:p>
        </p:txBody>
      </p:sp>
      <p:sp>
        <p:nvSpPr>
          <p:cNvPr id="14" name="Content Placeholder 2"/>
          <p:cNvSpPr>
            <a:spLocks noGrp="1"/>
          </p:cNvSpPr>
          <p:nvPr>
            <p:ph idx="1" hasCustomPrompt="1"/>
          </p:nvPr>
        </p:nvSpPr>
        <p:spPr>
          <a:xfrm>
            <a:off x="575999" y="1371025"/>
            <a:ext cx="5184000" cy="4416000"/>
          </a:xfrm>
        </p:spPr>
        <p:txBody>
          <a:bodyPr/>
          <a:lstStyle>
            <a:lvl1pPr marL="287993" indent="-287993">
              <a:lnSpc>
                <a:spcPct val="95000"/>
              </a:lnSpc>
              <a:spcBef>
                <a:spcPts val="1067"/>
              </a:spcBef>
              <a:buFont typeface="Arial" panose="020B0604020202020204" pitchFamily="34" charset="0"/>
              <a:buChar char="–"/>
              <a:defRPr sz="1733" b="0">
                <a:solidFill>
                  <a:schemeClr val="bg1"/>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1067"/>
              </a:spcBef>
              <a:defRPr sz="1733">
                <a:solidFill>
                  <a:schemeClr val="bg1"/>
                </a:solidFill>
                <a:latin typeface="Arial" panose="020B0604020202020204" pitchFamily="34" charset="0"/>
                <a:cs typeface="Arial" panose="020B0604020202020204" pitchFamily="34" charset="0"/>
                <a:sym typeface="Arial" panose="020B0604020202020204" pitchFamily="34" charset="0"/>
              </a:defRPr>
            </a:lvl2pPr>
            <a:lvl3pPr>
              <a:lnSpc>
                <a:spcPct val="95000"/>
              </a:lnSpc>
              <a:spcBef>
                <a:spcPts val="1067"/>
              </a:spcBef>
              <a:defRPr sz="1733">
                <a:solidFill>
                  <a:schemeClr val="bg1"/>
                </a:solidFill>
                <a:latin typeface="Arial" panose="020B0604020202020204" pitchFamily="34" charset="0"/>
                <a:cs typeface="Arial" panose="020B0604020202020204" pitchFamily="34" charset="0"/>
                <a:sym typeface="Arial" panose="020B0604020202020204" pitchFamily="34" charset="0"/>
              </a:defRPr>
            </a:lvl3pPr>
            <a:lvl4pPr>
              <a:lnSpc>
                <a:spcPct val="95000"/>
              </a:lnSpc>
              <a:spcBef>
                <a:spcPts val="1067"/>
              </a:spcBef>
              <a:defRPr sz="1733">
                <a:solidFill>
                  <a:schemeClr val="bg1"/>
                </a:solidFill>
                <a:latin typeface="Arial" panose="020B0604020202020204" pitchFamily="34" charset="0"/>
                <a:cs typeface="Arial" panose="020B0604020202020204" pitchFamily="34" charset="0"/>
                <a:sym typeface="Arial" panose="020B0604020202020204" pitchFamily="34" charset="0"/>
              </a:defRPr>
            </a:lvl4pPr>
            <a:lvl5pPr>
              <a:lnSpc>
                <a:spcPct val="95000"/>
              </a:lnSpc>
              <a:spcBef>
                <a:spcPts val="1067"/>
              </a:spcBef>
              <a:defRPr sz="1733">
                <a:solidFill>
                  <a:schemeClr val="bg1"/>
                </a:solidFill>
                <a:latin typeface="Arial" panose="020B0604020202020204" pitchFamily="34" charset="0"/>
                <a:cs typeface="Arial" panose="020B0604020202020204" pitchFamily="34" charset="0"/>
                <a:sym typeface="Arial" panose="020B0604020202020204" pitchFamily="34" charset="0"/>
              </a:defRPr>
            </a:lvl5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5" name="Content Placeholder 2"/>
          <p:cNvSpPr>
            <a:spLocks noGrp="1"/>
          </p:cNvSpPr>
          <p:nvPr>
            <p:ph idx="29" hasCustomPrompt="1"/>
          </p:nvPr>
        </p:nvSpPr>
        <p:spPr>
          <a:xfrm>
            <a:off x="6429579" y="1371025"/>
            <a:ext cx="5184000" cy="4416000"/>
          </a:xfrm>
        </p:spPr>
        <p:txBody>
          <a:bodyPr/>
          <a:lstStyle>
            <a:lvl1pPr marL="287993" indent="-287993">
              <a:lnSpc>
                <a:spcPct val="95000"/>
              </a:lnSpc>
              <a:spcBef>
                <a:spcPts val="1067"/>
              </a:spcBef>
              <a:buFont typeface="Arial" panose="020B0604020202020204" pitchFamily="34" charset="0"/>
              <a:buChar char="–"/>
              <a:defRPr sz="1733" b="0">
                <a:solidFill>
                  <a:schemeClr val="tx2"/>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2pPr>
            <a:lvl3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3pPr>
            <a:lvl4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4pPr>
            <a:lvl5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5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Text Placeholder 14">
            <a:extLst>
              <a:ext uri="{FF2B5EF4-FFF2-40B4-BE49-F238E27FC236}">
                <a16:creationId xmlns:a16="http://schemas.microsoft.com/office/drawing/2014/main" id="{19C0DBCC-4AE4-4A9B-B6AC-41D01FB442A1}"/>
              </a:ext>
            </a:extLst>
          </p:cNvPr>
          <p:cNvSpPr>
            <a:spLocks noGrp="1"/>
          </p:cNvSpPr>
          <p:nvPr>
            <p:ph type="body" sz="quarter" idx="26" hasCustomPrompt="1"/>
          </p:nvPr>
        </p:nvSpPr>
        <p:spPr>
          <a:xfrm>
            <a:off x="997921" y="6081601"/>
            <a:ext cx="5530109" cy="489879"/>
          </a:xfrm>
        </p:spPr>
        <p:txBody>
          <a:bodyPr anchor="b" anchorCtr="0"/>
          <a:lstStyle>
            <a:lvl1pPr>
              <a:lnSpc>
                <a:spcPct val="95000"/>
              </a:lnSpc>
              <a:spcBef>
                <a:spcPts val="0"/>
              </a:spcBef>
              <a:defRPr sz="933" b="0" baseline="0">
                <a:solidFill>
                  <a:schemeClr val="accent6"/>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6" name="Date Placeholder 5">
            <a:extLst>
              <a:ext uri="{FF2B5EF4-FFF2-40B4-BE49-F238E27FC236}">
                <a16:creationId xmlns:a16="http://schemas.microsoft.com/office/drawing/2014/main" id="{113DD5A5-D967-4803-8CBA-38F4E9006EDD}"/>
              </a:ext>
            </a:extLst>
          </p:cNvPr>
          <p:cNvSpPr>
            <a:spLocks noGrp="1"/>
          </p:cNvSpPr>
          <p:nvPr>
            <p:ph type="dt" sz="half" idx="3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7" name="Footer Placeholder 6">
            <a:extLst>
              <a:ext uri="{FF2B5EF4-FFF2-40B4-BE49-F238E27FC236}">
                <a16:creationId xmlns:a16="http://schemas.microsoft.com/office/drawing/2014/main" id="{DBDB7F10-1CB8-47D5-93F6-C24B91BAF18D}"/>
              </a:ext>
            </a:extLst>
          </p:cNvPr>
          <p:cNvSpPr>
            <a:spLocks noGrp="1"/>
          </p:cNvSpPr>
          <p:nvPr>
            <p:ph type="ftr" sz="quarter" idx="31"/>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8" name="Slide Number Placeholder 7">
            <a:extLst>
              <a:ext uri="{FF2B5EF4-FFF2-40B4-BE49-F238E27FC236}">
                <a16:creationId xmlns:a16="http://schemas.microsoft.com/office/drawing/2014/main" id="{984DB9A7-08F6-4B36-9159-5E51888606E0}"/>
              </a:ext>
            </a:extLst>
          </p:cNvPr>
          <p:cNvSpPr>
            <a:spLocks noGrp="1"/>
          </p:cNvSpPr>
          <p:nvPr>
            <p:ph type="sldNum" sz="quarter" idx="3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24C8C45C-947F-4981-8B3F-4F32E973C901}" type="slidenum">
              <a:rPr lang="en-GB" smtClean="0"/>
              <a:pPr/>
              <a:t>‹#›</a:t>
            </a:fld>
            <a:endParaRPr lang="en-GB" dirty="0"/>
          </a:p>
        </p:txBody>
      </p:sp>
      <p:sp>
        <p:nvSpPr>
          <p:cNvPr id="10" name="Title 9">
            <a:extLst>
              <a:ext uri="{FF2B5EF4-FFF2-40B4-BE49-F238E27FC236}">
                <a16:creationId xmlns:a16="http://schemas.microsoft.com/office/drawing/2014/main" id="{205C9A02-46F5-4F1E-BC34-1CE77859B616}"/>
              </a:ext>
            </a:extLst>
          </p:cNvPr>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GB"/>
              <a:t>Click to edit Master title style</a:t>
            </a:r>
            <a:endParaRPr lang="en-GB" dirty="0"/>
          </a:p>
        </p:txBody>
      </p:sp>
    </p:spTree>
    <p:extLst>
      <p:ext uri="{BB962C8B-B14F-4D97-AF65-F5344CB8AC3E}">
        <p14:creationId xmlns:p14="http://schemas.microsoft.com/office/powerpoint/2010/main" val="4233939306"/>
      </p:ext>
    </p:extLst>
  </p:cSld>
  <p:clrMapOvr>
    <a:masterClrMapping/>
  </p:clrMapOvr>
  <p:extLst>
    <p:ext uri="{DCECCB84-F9BA-43D5-87BE-67443E8EF086}">
      <p15:sldGuideLst xmlns:p15="http://schemas.microsoft.com/office/powerpoint/2012/main">
        <p15:guide id="1" orient="horz" pos="158">
          <p15:clr>
            <a:srgbClr val="FBAE40"/>
          </p15:clr>
        </p15:guide>
        <p15:guide id="2" pos="272">
          <p15:clr>
            <a:srgbClr val="FBAE40"/>
          </p15:clr>
        </p15:guide>
        <p15:guide id="3" orient="horz" pos="522">
          <p15:clr>
            <a:srgbClr val="FBAE40"/>
          </p15:clr>
        </p15:guide>
        <p15:guide id="4" orient="horz" pos="647">
          <p15:clr>
            <a:srgbClr val="FBAE40"/>
          </p15:clr>
        </p15:guide>
        <p15:guide id="5" orient="horz" pos="2736">
          <p15:clr>
            <a:srgbClr val="FBAE40"/>
          </p15:clr>
        </p15:guide>
        <p15:guide id="6" pos="2721">
          <p15:clr>
            <a:srgbClr val="FBAE40"/>
          </p15:clr>
        </p15:guide>
        <p15:guide id="7" pos="3039">
          <p15:clr>
            <a:srgbClr val="FBAE40"/>
          </p15:clr>
        </p15:guide>
        <p15:guide id="8" pos="548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wo Content (Colou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4713022-B176-4C51-8927-634F93DA557E}"/>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E4713022-B176-4C51-8927-634F93DA557E}"/>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62BA3EA-BA52-48A5-A9E4-4B0B6BE8FBAB}"/>
              </a:ext>
            </a:extLst>
          </p:cNvPr>
          <p:cNvSpPr/>
          <p:nvPr userDrawn="1">
            <p:custDataLst>
              <p:tags r:id="rId2"/>
            </p:custDataLst>
          </p:nvPr>
        </p:nvSpPr>
        <p:spPr>
          <a:xfrm>
            <a:off x="0" y="0"/>
            <a:ext cx="211667" cy="21166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5000"/>
              </a:lnSpc>
              <a:spcBef>
                <a:spcPct val="0"/>
              </a:spcBef>
              <a:spcAft>
                <a:spcPct val="0"/>
              </a:spcAft>
            </a:pPr>
            <a:endParaRPr lang="en-GB" sz="1996" b="1" i="0" baseline="0" noProof="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Grå baggrund 1"/>
          <p:cNvSpPr/>
          <p:nvPr userDrawn="1"/>
        </p:nvSpPr>
        <p:spPr>
          <a:xfrm>
            <a:off x="1" y="1110392"/>
            <a:ext cx="6034529" cy="49640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2000"/>
              </a:spcBef>
            </a:pPr>
            <a:endParaRPr lang="en-GB" sz="1733" noProof="0" dirty="0">
              <a:latin typeface="Arial" panose="020B0604020202020204" pitchFamily="34" charset="0"/>
              <a:cs typeface="Arial" panose="020B0604020202020204" pitchFamily="34" charset="0"/>
              <a:sym typeface="Arial" panose="020B0604020202020204" pitchFamily="34" charset="0"/>
            </a:endParaRPr>
          </a:p>
        </p:txBody>
      </p:sp>
      <p:sp>
        <p:nvSpPr>
          <p:cNvPr id="13" name="Grå baggrund 3"/>
          <p:cNvSpPr/>
          <p:nvPr userDrawn="1"/>
        </p:nvSpPr>
        <p:spPr>
          <a:xfrm>
            <a:off x="6157685" y="1110392"/>
            <a:ext cx="6034529" cy="49640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2000"/>
              </a:spcBef>
            </a:pPr>
            <a:endParaRPr lang="en-GB" sz="1733" noProof="0" dirty="0">
              <a:latin typeface="Arial" panose="020B0604020202020204" pitchFamily="34" charset="0"/>
              <a:cs typeface="Arial" panose="020B0604020202020204" pitchFamily="34" charset="0"/>
              <a:sym typeface="Arial" panose="020B0604020202020204" pitchFamily="34" charset="0"/>
            </a:endParaRPr>
          </a:p>
        </p:txBody>
      </p:sp>
      <p:sp>
        <p:nvSpPr>
          <p:cNvPr id="14" name="Content Placeholder 2"/>
          <p:cNvSpPr>
            <a:spLocks noGrp="1"/>
          </p:cNvSpPr>
          <p:nvPr>
            <p:ph idx="1" hasCustomPrompt="1"/>
          </p:nvPr>
        </p:nvSpPr>
        <p:spPr>
          <a:xfrm>
            <a:off x="575999" y="1371025"/>
            <a:ext cx="5184000" cy="4416000"/>
          </a:xfrm>
        </p:spPr>
        <p:txBody>
          <a:bodyPr/>
          <a:lstStyle>
            <a:lvl1pPr marL="287993" indent="-287993">
              <a:lnSpc>
                <a:spcPct val="95000"/>
              </a:lnSpc>
              <a:spcBef>
                <a:spcPts val="1067"/>
              </a:spcBef>
              <a:buFont typeface="Arial" panose="020B0604020202020204" pitchFamily="34" charset="0"/>
              <a:buChar char="–"/>
              <a:defRPr sz="1733" b="0">
                <a:solidFill>
                  <a:schemeClr val="bg1"/>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1067"/>
              </a:spcBef>
              <a:defRPr sz="1733">
                <a:solidFill>
                  <a:schemeClr val="bg1"/>
                </a:solidFill>
                <a:latin typeface="Arial" panose="020B0604020202020204" pitchFamily="34" charset="0"/>
                <a:cs typeface="Arial" panose="020B0604020202020204" pitchFamily="34" charset="0"/>
                <a:sym typeface="Arial" panose="020B0604020202020204" pitchFamily="34" charset="0"/>
              </a:defRPr>
            </a:lvl2pPr>
            <a:lvl3pPr>
              <a:lnSpc>
                <a:spcPct val="95000"/>
              </a:lnSpc>
              <a:spcBef>
                <a:spcPts val="1067"/>
              </a:spcBef>
              <a:defRPr sz="1733">
                <a:solidFill>
                  <a:schemeClr val="bg1"/>
                </a:solidFill>
                <a:latin typeface="Arial" panose="020B0604020202020204" pitchFamily="34" charset="0"/>
                <a:cs typeface="Arial" panose="020B0604020202020204" pitchFamily="34" charset="0"/>
                <a:sym typeface="Arial" panose="020B0604020202020204" pitchFamily="34" charset="0"/>
              </a:defRPr>
            </a:lvl3pPr>
            <a:lvl4pPr>
              <a:lnSpc>
                <a:spcPct val="95000"/>
              </a:lnSpc>
              <a:spcBef>
                <a:spcPts val="1067"/>
              </a:spcBef>
              <a:defRPr sz="1733">
                <a:solidFill>
                  <a:schemeClr val="bg1"/>
                </a:solidFill>
                <a:latin typeface="Arial" panose="020B0604020202020204" pitchFamily="34" charset="0"/>
                <a:cs typeface="Arial" panose="020B0604020202020204" pitchFamily="34" charset="0"/>
                <a:sym typeface="Arial" panose="020B0604020202020204" pitchFamily="34" charset="0"/>
              </a:defRPr>
            </a:lvl4pPr>
            <a:lvl5pPr>
              <a:lnSpc>
                <a:spcPct val="95000"/>
              </a:lnSpc>
              <a:spcBef>
                <a:spcPts val="1067"/>
              </a:spcBef>
              <a:defRPr sz="1733">
                <a:solidFill>
                  <a:schemeClr val="bg1"/>
                </a:solidFill>
                <a:latin typeface="Arial" panose="020B0604020202020204" pitchFamily="34" charset="0"/>
                <a:cs typeface="Arial" panose="020B0604020202020204" pitchFamily="34" charset="0"/>
                <a:sym typeface="Arial" panose="020B0604020202020204" pitchFamily="34" charset="0"/>
              </a:defRPr>
            </a:lvl5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5" name="Content Placeholder 2"/>
          <p:cNvSpPr>
            <a:spLocks noGrp="1"/>
          </p:cNvSpPr>
          <p:nvPr>
            <p:ph idx="29" hasCustomPrompt="1"/>
          </p:nvPr>
        </p:nvSpPr>
        <p:spPr>
          <a:xfrm>
            <a:off x="6429579" y="1371025"/>
            <a:ext cx="5184000" cy="4416000"/>
          </a:xfrm>
        </p:spPr>
        <p:txBody>
          <a:bodyPr/>
          <a:lstStyle>
            <a:lvl1pPr marL="287993" indent="-287993">
              <a:lnSpc>
                <a:spcPct val="95000"/>
              </a:lnSpc>
              <a:spcBef>
                <a:spcPts val="1067"/>
              </a:spcBef>
              <a:buFont typeface="Arial" panose="020B0604020202020204" pitchFamily="34" charset="0"/>
              <a:buChar char="–"/>
              <a:defRPr sz="1733" b="0">
                <a:solidFill>
                  <a:schemeClr val="tx2"/>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2pPr>
            <a:lvl3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3pPr>
            <a:lvl4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4pPr>
            <a:lvl5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5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Text Placeholder 14">
            <a:extLst>
              <a:ext uri="{FF2B5EF4-FFF2-40B4-BE49-F238E27FC236}">
                <a16:creationId xmlns:a16="http://schemas.microsoft.com/office/drawing/2014/main" id="{19C0DBCC-4AE4-4A9B-B6AC-41D01FB442A1}"/>
              </a:ext>
            </a:extLst>
          </p:cNvPr>
          <p:cNvSpPr>
            <a:spLocks noGrp="1"/>
          </p:cNvSpPr>
          <p:nvPr>
            <p:ph type="body" sz="quarter" idx="26" hasCustomPrompt="1"/>
          </p:nvPr>
        </p:nvSpPr>
        <p:spPr>
          <a:xfrm>
            <a:off x="997921" y="6081601"/>
            <a:ext cx="5530109" cy="489879"/>
          </a:xfrm>
        </p:spPr>
        <p:txBody>
          <a:bodyPr anchor="b" anchorCtr="0"/>
          <a:lstStyle>
            <a:lvl1pPr>
              <a:lnSpc>
                <a:spcPct val="95000"/>
              </a:lnSpc>
              <a:spcBef>
                <a:spcPts val="0"/>
              </a:spcBef>
              <a:defRPr sz="933" b="0" baseline="0">
                <a:solidFill>
                  <a:schemeClr val="accent6"/>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6" name="Date Placeholder 5">
            <a:extLst>
              <a:ext uri="{FF2B5EF4-FFF2-40B4-BE49-F238E27FC236}">
                <a16:creationId xmlns:a16="http://schemas.microsoft.com/office/drawing/2014/main" id="{113DD5A5-D967-4803-8CBA-38F4E9006EDD}"/>
              </a:ext>
            </a:extLst>
          </p:cNvPr>
          <p:cNvSpPr>
            <a:spLocks noGrp="1"/>
          </p:cNvSpPr>
          <p:nvPr>
            <p:ph type="dt" sz="half" idx="3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7" name="Footer Placeholder 6">
            <a:extLst>
              <a:ext uri="{FF2B5EF4-FFF2-40B4-BE49-F238E27FC236}">
                <a16:creationId xmlns:a16="http://schemas.microsoft.com/office/drawing/2014/main" id="{DBDB7F10-1CB8-47D5-93F6-C24B91BAF18D}"/>
              </a:ext>
            </a:extLst>
          </p:cNvPr>
          <p:cNvSpPr>
            <a:spLocks noGrp="1"/>
          </p:cNvSpPr>
          <p:nvPr>
            <p:ph type="ftr" sz="quarter" idx="31"/>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8" name="Slide Number Placeholder 7">
            <a:extLst>
              <a:ext uri="{FF2B5EF4-FFF2-40B4-BE49-F238E27FC236}">
                <a16:creationId xmlns:a16="http://schemas.microsoft.com/office/drawing/2014/main" id="{984DB9A7-08F6-4B36-9159-5E51888606E0}"/>
              </a:ext>
            </a:extLst>
          </p:cNvPr>
          <p:cNvSpPr>
            <a:spLocks noGrp="1"/>
          </p:cNvSpPr>
          <p:nvPr>
            <p:ph type="sldNum" sz="quarter" idx="3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24C8C45C-947F-4981-8B3F-4F32E973C901}" type="slidenum">
              <a:rPr lang="en-GB" smtClean="0"/>
              <a:pPr/>
              <a:t>‹#›</a:t>
            </a:fld>
            <a:endParaRPr lang="en-GB" dirty="0"/>
          </a:p>
        </p:txBody>
      </p:sp>
      <p:sp>
        <p:nvSpPr>
          <p:cNvPr id="10" name="Title 9">
            <a:extLst>
              <a:ext uri="{FF2B5EF4-FFF2-40B4-BE49-F238E27FC236}">
                <a16:creationId xmlns:a16="http://schemas.microsoft.com/office/drawing/2014/main" id="{205C9A02-46F5-4F1E-BC34-1CE77859B616}"/>
              </a:ext>
            </a:extLst>
          </p:cNvPr>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GB"/>
              <a:t>Click to edit Master title style</a:t>
            </a:r>
            <a:endParaRPr lang="en-GB" dirty="0"/>
          </a:p>
        </p:txBody>
      </p:sp>
    </p:spTree>
    <p:extLst>
      <p:ext uri="{BB962C8B-B14F-4D97-AF65-F5344CB8AC3E}">
        <p14:creationId xmlns:p14="http://schemas.microsoft.com/office/powerpoint/2010/main" val="163675639"/>
      </p:ext>
    </p:extLst>
  </p:cSld>
  <p:clrMapOvr>
    <a:masterClrMapping/>
  </p:clrMapOvr>
  <p:extLst>
    <p:ext uri="{DCECCB84-F9BA-43D5-87BE-67443E8EF086}">
      <p15:sldGuideLst xmlns:p15="http://schemas.microsoft.com/office/powerpoint/2012/main">
        <p15:guide id="1" orient="horz" pos="158">
          <p15:clr>
            <a:srgbClr val="FBAE40"/>
          </p15:clr>
        </p15:guide>
        <p15:guide id="2" pos="272">
          <p15:clr>
            <a:srgbClr val="FBAE40"/>
          </p15:clr>
        </p15:guide>
        <p15:guide id="3" orient="horz" pos="522">
          <p15:clr>
            <a:srgbClr val="FBAE40"/>
          </p15:clr>
        </p15:guide>
        <p15:guide id="4" orient="horz" pos="647">
          <p15:clr>
            <a:srgbClr val="FBAE40"/>
          </p15:clr>
        </p15:guide>
        <p15:guide id="5" orient="horz" pos="2736">
          <p15:clr>
            <a:srgbClr val="FBAE40"/>
          </p15:clr>
        </p15:guide>
        <p15:guide id="6" pos="2721">
          <p15:clr>
            <a:srgbClr val="FBAE40"/>
          </p15:clr>
        </p15:guide>
        <p15:guide id="7" pos="3039">
          <p15:clr>
            <a:srgbClr val="FBAE40"/>
          </p15:clr>
        </p15:guide>
        <p15:guide id="8" pos="548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 (Picture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AAB6DF2-F633-4A65-A920-342873356B74}"/>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4" name="Object 3" hidden="1">
                        <a:extLst>
                          <a:ext uri="{FF2B5EF4-FFF2-40B4-BE49-F238E27FC236}">
                            <a16:creationId xmlns:a16="http://schemas.microsoft.com/office/drawing/2014/main" id="{BAAB6DF2-F633-4A65-A920-342873356B74}"/>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A305F4C-4618-43E2-B4AC-545BA76D18CE}"/>
              </a:ext>
            </a:extLst>
          </p:cNvPr>
          <p:cNvSpPr/>
          <p:nvPr userDrawn="1">
            <p:custDataLst>
              <p:tags r:id="rId2"/>
            </p:custDataLst>
          </p:nvPr>
        </p:nvSpPr>
        <p:spPr>
          <a:xfrm>
            <a:off x="0" y="0"/>
            <a:ext cx="211667" cy="21166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5000"/>
              </a:lnSpc>
              <a:spcBef>
                <a:spcPct val="0"/>
              </a:spcBef>
              <a:spcAft>
                <a:spcPct val="0"/>
              </a:spcAft>
            </a:pPr>
            <a:endParaRPr lang="en-GB" sz="1996" b="1" i="0" baseline="0" noProof="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Grå baggrund 1"/>
          <p:cNvSpPr/>
          <p:nvPr userDrawn="1"/>
        </p:nvSpPr>
        <p:spPr>
          <a:xfrm>
            <a:off x="1" y="1110392"/>
            <a:ext cx="6034529" cy="4964099"/>
          </a:xfrm>
          <a:prstGeom prst="rect">
            <a:avLst/>
          </a:prstGeom>
          <a:solidFill>
            <a:srgbClr val="F5F6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2000"/>
              </a:spcBef>
            </a:pPr>
            <a:endParaRPr lang="en-GB" sz="1733" noProof="0" dirty="0">
              <a:latin typeface="Arial" panose="020B0604020202020204" pitchFamily="34" charset="0"/>
              <a:cs typeface="Arial" panose="020B0604020202020204" pitchFamily="34" charset="0"/>
              <a:sym typeface="Arial" panose="020B0604020202020204" pitchFamily="34" charset="0"/>
            </a:endParaRPr>
          </a:p>
        </p:txBody>
      </p:sp>
      <p:sp>
        <p:nvSpPr>
          <p:cNvPr id="14" name="Content Placeholder 2"/>
          <p:cNvSpPr>
            <a:spLocks noGrp="1"/>
          </p:cNvSpPr>
          <p:nvPr>
            <p:ph idx="1" hasCustomPrompt="1"/>
          </p:nvPr>
        </p:nvSpPr>
        <p:spPr>
          <a:xfrm>
            <a:off x="575999" y="1371025"/>
            <a:ext cx="5184000" cy="4416000"/>
          </a:xfrm>
        </p:spPr>
        <p:txBody>
          <a:bodyPr/>
          <a:lstStyle>
            <a:lvl1pPr marL="287993" indent="-287993">
              <a:lnSpc>
                <a:spcPct val="95000"/>
              </a:lnSpc>
              <a:spcBef>
                <a:spcPts val="1067"/>
              </a:spcBef>
              <a:buFont typeface="Arial" panose="020B0604020202020204" pitchFamily="34" charset="0"/>
              <a:buChar char="–"/>
              <a:defRPr sz="1733" b="0">
                <a:solidFill>
                  <a:schemeClr val="tx2"/>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2pPr>
            <a:lvl3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3pPr>
            <a:lvl4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4pPr>
            <a:lvl5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5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Text Placeholder 14">
            <a:extLst>
              <a:ext uri="{FF2B5EF4-FFF2-40B4-BE49-F238E27FC236}">
                <a16:creationId xmlns:a16="http://schemas.microsoft.com/office/drawing/2014/main" id="{19C0DBCC-4AE4-4A9B-B6AC-41D01FB442A1}"/>
              </a:ext>
            </a:extLst>
          </p:cNvPr>
          <p:cNvSpPr>
            <a:spLocks noGrp="1"/>
          </p:cNvSpPr>
          <p:nvPr>
            <p:ph type="body" sz="quarter" idx="26" hasCustomPrompt="1"/>
          </p:nvPr>
        </p:nvSpPr>
        <p:spPr>
          <a:xfrm>
            <a:off x="997921" y="6081601"/>
            <a:ext cx="5530109" cy="489879"/>
          </a:xfrm>
        </p:spPr>
        <p:txBody>
          <a:bodyPr anchor="b" anchorCtr="0"/>
          <a:lstStyle>
            <a:lvl1pPr>
              <a:lnSpc>
                <a:spcPct val="95000"/>
              </a:lnSpc>
              <a:spcBef>
                <a:spcPts val="0"/>
              </a:spcBef>
              <a:defRPr sz="933" b="0" baseline="0">
                <a:solidFill>
                  <a:schemeClr val="accent6"/>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6" name="Date Placeholder 5">
            <a:extLst>
              <a:ext uri="{FF2B5EF4-FFF2-40B4-BE49-F238E27FC236}">
                <a16:creationId xmlns:a16="http://schemas.microsoft.com/office/drawing/2014/main" id="{113DD5A5-D967-4803-8CBA-38F4E9006EDD}"/>
              </a:ext>
            </a:extLst>
          </p:cNvPr>
          <p:cNvSpPr>
            <a:spLocks noGrp="1"/>
          </p:cNvSpPr>
          <p:nvPr>
            <p:ph type="dt" sz="half" idx="3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7" name="Footer Placeholder 6">
            <a:extLst>
              <a:ext uri="{FF2B5EF4-FFF2-40B4-BE49-F238E27FC236}">
                <a16:creationId xmlns:a16="http://schemas.microsoft.com/office/drawing/2014/main" id="{DBDB7F10-1CB8-47D5-93F6-C24B91BAF18D}"/>
              </a:ext>
            </a:extLst>
          </p:cNvPr>
          <p:cNvSpPr>
            <a:spLocks noGrp="1"/>
          </p:cNvSpPr>
          <p:nvPr>
            <p:ph type="ftr" sz="quarter" idx="31"/>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8" name="Slide Number Placeholder 7">
            <a:extLst>
              <a:ext uri="{FF2B5EF4-FFF2-40B4-BE49-F238E27FC236}">
                <a16:creationId xmlns:a16="http://schemas.microsoft.com/office/drawing/2014/main" id="{984DB9A7-08F6-4B36-9159-5E51888606E0}"/>
              </a:ext>
            </a:extLst>
          </p:cNvPr>
          <p:cNvSpPr>
            <a:spLocks noGrp="1"/>
          </p:cNvSpPr>
          <p:nvPr>
            <p:ph type="sldNum" sz="quarter" idx="3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24C8C45C-947F-4981-8B3F-4F32E973C901}" type="slidenum">
              <a:rPr lang="en-GB" smtClean="0"/>
              <a:pPr/>
              <a:t>‹#›</a:t>
            </a:fld>
            <a:endParaRPr lang="en-GB" dirty="0"/>
          </a:p>
        </p:txBody>
      </p:sp>
      <p:sp>
        <p:nvSpPr>
          <p:cNvPr id="10" name="Title 9">
            <a:extLst>
              <a:ext uri="{FF2B5EF4-FFF2-40B4-BE49-F238E27FC236}">
                <a16:creationId xmlns:a16="http://schemas.microsoft.com/office/drawing/2014/main" id="{205C9A02-46F5-4F1E-BC34-1CE77859B616}"/>
              </a:ext>
            </a:extLst>
          </p:cNvPr>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GB"/>
              <a:t>Click to edit Master title style</a:t>
            </a:r>
            <a:endParaRPr lang="en-GB" dirty="0"/>
          </a:p>
        </p:txBody>
      </p:sp>
      <p:sp>
        <p:nvSpPr>
          <p:cNvPr id="3" name="Picture Placeholder 2">
            <a:extLst>
              <a:ext uri="{FF2B5EF4-FFF2-40B4-BE49-F238E27FC236}">
                <a16:creationId xmlns:a16="http://schemas.microsoft.com/office/drawing/2014/main" id="{D45C5449-5351-4BC4-A062-46B47AB9E0AC}"/>
              </a:ext>
            </a:extLst>
          </p:cNvPr>
          <p:cNvSpPr>
            <a:spLocks noGrp="1"/>
          </p:cNvSpPr>
          <p:nvPr>
            <p:ph type="pic" sz="quarter" idx="33"/>
          </p:nvPr>
        </p:nvSpPr>
        <p:spPr>
          <a:xfrm>
            <a:off x="6153150" y="1104901"/>
            <a:ext cx="6038849" cy="4976284"/>
          </a:xfrm>
        </p:spPr>
        <p:txBody>
          <a:bodyPr anchor="ctr" anchorCtr="0"/>
          <a:lstStyle>
            <a:lvl1pPr algn="ctr">
              <a:defRPr sz="1200">
                <a:latin typeface="+mn-lt"/>
              </a:defRPr>
            </a:lvl1pPr>
          </a:lstStyle>
          <a:p>
            <a:r>
              <a:rPr lang="en-GB" dirty="0"/>
              <a:t>Click icon to add picture</a:t>
            </a:r>
          </a:p>
        </p:txBody>
      </p:sp>
    </p:spTree>
    <p:extLst>
      <p:ext uri="{BB962C8B-B14F-4D97-AF65-F5344CB8AC3E}">
        <p14:creationId xmlns:p14="http://schemas.microsoft.com/office/powerpoint/2010/main" val="4136525956"/>
      </p:ext>
    </p:extLst>
  </p:cSld>
  <p:clrMapOvr>
    <a:masterClrMapping/>
  </p:clrMapOvr>
  <p:extLst>
    <p:ext uri="{DCECCB84-F9BA-43D5-87BE-67443E8EF086}">
      <p15:sldGuideLst xmlns:p15="http://schemas.microsoft.com/office/powerpoint/2012/main">
        <p15:guide id="1" orient="horz" pos="158">
          <p15:clr>
            <a:srgbClr val="FBAE40"/>
          </p15:clr>
        </p15:guide>
        <p15:guide id="2" pos="272">
          <p15:clr>
            <a:srgbClr val="FBAE40"/>
          </p15:clr>
        </p15:guide>
        <p15:guide id="3" orient="horz" pos="522">
          <p15:clr>
            <a:srgbClr val="FBAE40"/>
          </p15:clr>
        </p15:guide>
        <p15:guide id="4" orient="horz" pos="647">
          <p15:clr>
            <a:srgbClr val="FBAE40"/>
          </p15:clr>
        </p15:guide>
        <p15:guide id="5" orient="horz" pos="2736">
          <p15:clr>
            <a:srgbClr val="FBAE40"/>
          </p15:clr>
        </p15:guide>
        <p15:guide id="6" pos="2721">
          <p15:clr>
            <a:srgbClr val="FBAE40"/>
          </p15:clr>
        </p15:guide>
        <p15:guide id="7" pos="2907">
          <p15:clr>
            <a:srgbClr val="FBAE40"/>
          </p15:clr>
        </p15:guide>
        <p15:guide id="8" pos="5488">
          <p15:clr>
            <a:srgbClr val="FBAE40"/>
          </p15:clr>
        </p15:guide>
        <p15:guide id="9" orient="horz" pos="287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hree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CAC8B30-2E43-45A0-9668-9127BE8E1172}"/>
              </a:ext>
            </a:extLst>
          </p:cNvPr>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38" imgH="338" progId="TCLayout.ActiveDocument.1">
                  <p:embed/>
                </p:oleObj>
              </mc:Choice>
              <mc:Fallback>
                <p:oleObj name="think-cell Slide" r:id="rId3" imgW="338" imgH="338" progId="TCLayout.ActiveDocument.1">
                  <p:embed/>
                  <p:pic>
                    <p:nvPicPr>
                      <p:cNvPr id="3" name="Object 2" hidden="1">
                        <a:extLst>
                          <a:ext uri="{FF2B5EF4-FFF2-40B4-BE49-F238E27FC236}">
                            <a16:creationId xmlns:a16="http://schemas.microsoft.com/office/drawing/2014/main" id="{4CAC8B30-2E43-45A0-9668-9127BE8E1172}"/>
                          </a:ext>
                        </a:extLst>
                      </p:cNvPr>
                      <p:cNvPicPr/>
                      <p:nvPr/>
                    </p:nvPicPr>
                    <p:blipFill>
                      <a:blip r:embed="rId4"/>
                      <a:stretch>
                        <a:fillRect/>
                      </a:stretch>
                    </p:blipFill>
                    <p:spPr>
                      <a:xfrm>
                        <a:off x="2118" y="2118"/>
                        <a:ext cx="2116" cy="2116"/>
                      </a:xfrm>
                      <a:prstGeom prst="rect">
                        <a:avLst/>
                      </a:prstGeom>
                    </p:spPr>
                  </p:pic>
                </p:oleObj>
              </mc:Fallback>
            </mc:AlternateContent>
          </a:graphicData>
        </a:graphic>
      </p:graphicFrame>
      <p:sp>
        <p:nvSpPr>
          <p:cNvPr id="10" name="Grå baggrund 1">
            <a:extLst>
              <a:ext uri="{FF2B5EF4-FFF2-40B4-BE49-F238E27FC236}">
                <a16:creationId xmlns:a16="http://schemas.microsoft.com/office/drawing/2014/main" id="{01B2B125-6B35-454E-8035-48AC7433FD8F}"/>
              </a:ext>
            </a:extLst>
          </p:cNvPr>
          <p:cNvSpPr/>
          <p:nvPr userDrawn="1"/>
        </p:nvSpPr>
        <p:spPr>
          <a:xfrm>
            <a:off x="1" y="1110390"/>
            <a:ext cx="6034529" cy="24330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800"/>
              </a:spcBef>
            </a:pPr>
            <a:endParaRPr lang="en-GB" sz="1333" noProof="0" dirty="0">
              <a:latin typeface="Arial" panose="020B0604020202020204" pitchFamily="34" charset="0"/>
              <a:cs typeface="Arial" panose="020B0604020202020204" pitchFamily="34" charset="0"/>
              <a:sym typeface="Arial" panose="020B0604020202020204" pitchFamily="34" charset="0"/>
            </a:endParaRPr>
          </a:p>
        </p:txBody>
      </p:sp>
      <p:sp>
        <p:nvSpPr>
          <p:cNvPr id="14" name="Grå baggrund 2">
            <a:extLst>
              <a:ext uri="{FF2B5EF4-FFF2-40B4-BE49-F238E27FC236}">
                <a16:creationId xmlns:a16="http://schemas.microsoft.com/office/drawing/2014/main" id="{39ED60BB-9E72-4727-8CDB-2A8DF2911BB2}"/>
              </a:ext>
            </a:extLst>
          </p:cNvPr>
          <p:cNvSpPr/>
          <p:nvPr userDrawn="1"/>
        </p:nvSpPr>
        <p:spPr>
          <a:xfrm>
            <a:off x="1" y="3641428"/>
            <a:ext cx="6034529" cy="24330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800"/>
              </a:spcBef>
            </a:pPr>
            <a:endParaRPr lang="en-GB" sz="1333" noProof="0" dirty="0">
              <a:latin typeface="Arial" panose="020B0604020202020204" pitchFamily="34" charset="0"/>
              <a:cs typeface="Arial" panose="020B0604020202020204" pitchFamily="34" charset="0"/>
              <a:sym typeface="Arial" panose="020B0604020202020204" pitchFamily="34" charset="0"/>
            </a:endParaRPr>
          </a:p>
        </p:txBody>
      </p:sp>
      <p:sp>
        <p:nvSpPr>
          <p:cNvPr id="13" name="Grå baggrund 3"/>
          <p:cNvSpPr/>
          <p:nvPr userDrawn="1"/>
        </p:nvSpPr>
        <p:spPr>
          <a:xfrm>
            <a:off x="6157685" y="1110392"/>
            <a:ext cx="6034529" cy="49640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2000"/>
              </a:spcBef>
            </a:pPr>
            <a:endParaRPr lang="en-GB" sz="1733" noProof="0"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eaLnBrk="1">
              <a:defRPr>
                <a:latin typeface="Arial" panose="020B0604020202020204" pitchFamily="34" charset="0"/>
                <a:cs typeface="Arial" panose="020B0604020202020204" pitchFamily="34" charset="0"/>
                <a:sym typeface="Arial" panose="020B0604020202020204" pitchFamily="34" charset="0"/>
              </a:defRPr>
            </a:lvl1pPr>
          </a:lstStyle>
          <a:p>
            <a:r>
              <a:rPr lang="en-GB"/>
              <a:t>Click to edit Master title style</a:t>
            </a:r>
            <a:endParaRPr lang="en-GB" dirty="0"/>
          </a:p>
        </p:txBody>
      </p:sp>
      <p:sp>
        <p:nvSpPr>
          <p:cNvPr id="11" name="Content Placeholder 2">
            <a:extLst>
              <a:ext uri="{FF2B5EF4-FFF2-40B4-BE49-F238E27FC236}">
                <a16:creationId xmlns:a16="http://schemas.microsoft.com/office/drawing/2014/main" id="{F620C479-51CF-4825-94BD-069C67AE9DC8}"/>
              </a:ext>
            </a:extLst>
          </p:cNvPr>
          <p:cNvSpPr>
            <a:spLocks noGrp="1"/>
          </p:cNvSpPr>
          <p:nvPr>
            <p:ph idx="29" hasCustomPrompt="1"/>
          </p:nvPr>
        </p:nvSpPr>
        <p:spPr>
          <a:xfrm>
            <a:off x="6435067" y="1371025"/>
            <a:ext cx="5184000" cy="4442867"/>
          </a:xfrm>
        </p:spPr>
        <p:txBody>
          <a:bodyPr/>
          <a:lstStyle>
            <a:lvl1pPr marL="287993" indent="-287993">
              <a:lnSpc>
                <a:spcPct val="95000"/>
              </a:lnSpc>
              <a:spcBef>
                <a:spcPts val="1067"/>
              </a:spcBef>
              <a:buFont typeface="Arial" panose="020B0604020202020204" pitchFamily="34" charset="0"/>
              <a:buChar char="–"/>
              <a:defRPr sz="1733" b="0">
                <a:solidFill>
                  <a:schemeClr val="tx2"/>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2000"/>
              </a:spcBef>
              <a:defRPr sz="1733">
                <a:solidFill>
                  <a:schemeClr val="tx2"/>
                </a:solidFill>
                <a:latin typeface="Orsted Sans Office" panose="00000500000000000000" pitchFamily="2" charset="0"/>
              </a:defRPr>
            </a:lvl2pPr>
            <a:lvl3pPr>
              <a:lnSpc>
                <a:spcPct val="95000"/>
              </a:lnSpc>
              <a:spcBef>
                <a:spcPts val="2000"/>
              </a:spcBef>
              <a:defRPr sz="1733">
                <a:solidFill>
                  <a:schemeClr val="tx2"/>
                </a:solidFill>
                <a:latin typeface="Orsted Sans Office" panose="00000500000000000000" pitchFamily="2" charset="0"/>
              </a:defRPr>
            </a:lvl3pPr>
            <a:lvl4pPr>
              <a:lnSpc>
                <a:spcPct val="95000"/>
              </a:lnSpc>
              <a:spcBef>
                <a:spcPts val="2000"/>
              </a:spcBef>
              <a:defRPr sz="1733">
                <a:solidFill>
                  <a:schemeClr val="tx2"/>
                </a:solidFill>
                <a:latin typeface="Orsted Sans Office" panose="00000500000000000000" pitchFamily="2" charset="0"/>
              </a:defRPr>
            </a:lvl4pPr>
            <a:lvl5pPr>
              <a:lnSpc>
                <a:spcPct val="95000"/>
              </a:lnSpc>
              <a:spcBef>
                <a:spcPts val="2000"/>
              </a:spcBef>
              <a:defRPr sz="1733">
                <a:solidFill>
                  <a:schemeClr val="tx2"/>
                </a:solidFill>
                <a:latin typeface="Orsted Sans Office" panose="00000500000000000000" pitchFamily="2" charset="0"/>
              </a:defRPr>
            </a:lvl5pPr>
          </a:lstStyle>
          <a:p>
            <a:pPr lvl="0"/>
            <a:r>
              <a:rPr lang="en-GB" dirty="0"/>
              <a:t>Click to add text </a:t>
            </a:r>
            <a:endParaRPr lang="en-GB" noProof="0" dirty="0"/>
          </a:p>
        </p:txBody>
      </p:sp>
      <p:sp>
        <p:nvSpPr>
          <p:cNvPr id="16" name="Content Placeholder 2">
            <a:extLst>
              <a:ext uri="{FF2B5EF4-FFF2-40B4-BE49-F238E27FC236}">
                <a16:creationId xmlns:a16="http://schemas.microsoft.com/office/drawing/2014/main" id="{F8A859BB-4097-4B5C-9389-6FAEBA760E81}"/>
              </a:ext>
            </a:extLst>
          </p:cNvPr>
          <p:cNvSpPr>
            <a:spLocks noGrp="1"/>
          </p:cNvSpPr>
          <p:nvPr>
            <p:ph idx="1" hasCustomPrompt="1"/>
          </p:nvPr>
        </p:nvSpPr>
        <p:spPr>
          <a:xfrm>
            <a:off x="573881" y="1371025"/>
            <a:ext cx="5184000" cy="1920323"/>
          </a:xfrm>
        </p:spPr>
        <p:txBody>
          <a:bodyPr/>
          <a:lstStyle>
            <a:lvl1pPr marL="287993" indent="-287993">
              <a:lnSpc>
                <a:spcPct val="95000"/>
              </a:lnSpc>
              <a:spcBef>
                <a:spcPts val="1067"/>
              </a:spcBef>
              <a:buFont typeface="Arial" panose="020B0604020202020204" pitchFamily="34" charset="0"/>
              <a:buChar char="–"/>
              <a:defRPr sz="1733" b="0">
                <a:solidFill>
                  <a:schemeClr val="tx2"/>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800"/>
              </a:spcBef>
              <a:defRPr sz="1733">
                <a:solidFill>
                  <a:schemeClr val="tx2"/>
                </a:solidFill>
                <a:latin typeface="Orsted Sans Office" panose="00000500000000000000" pitchFamily="2" charset="0"/>
              </a:defRPr>
            </a:lvl2pPr>
            <a:lvl3pPr>
              <a:lnSpc>
                <a:spcPct val="95000"/>
              </a:lnSpc>
              <a:spcBef>
                <a:spcPts val="800"/>
              </a:spcBef>
              <a:defRPr sz="1733">
                <a:solidFill>
                  <a:schemeClr val="tx2"/>
                </a:solidFill>
                <a:latin typeface="Orsted Sans Office" panose="00000500000000000000" pitchFamily="2" charset="0"/>
              </a:defRPr>
            </a:lvl3pPr>
            <a:lvl4pPr>
              <a:lnSpc>
                <a:spcPct val="95000"/>
              </a:lnSpc>
              <a:spcBef>
                <a:spcPts val="800"/>
              </a:spcBef>
              <a:defRPr sz="1733">
                <a:solidFill>
                  <a:schemeClr val="tx2"/>
                </a:solidFill>
                <a:latin typeface="Orsted Sans Office" panose="00000500000000000000" pitchFamily="2" charset="0"/>
              </a:defRPr>
            </a:lvl4pPr>
            <a:lvl5pPr>
              <a:lnSpc>
                <a:spcPct val="95000"/>
              </a:lnSpc>
              <a:spcBef>
                <a:spcPts val="800"/>
              </a:spcBef>
              <a:defRPr sz="1733">
                <a:solidFill>
                  <a:schemeClr val="tx2"/>
                </a:solidFill>
                <a:latin typeface="Orsted Sans Office" panose="00000500000000000000" pitchFamily="2" charset="0"/>
              </a:defRPr>
            </a:lvl5pPr>
          </a:lstStyle>
          <a:p>
            <a:pPr lvl="0"/>
            <a:r>
              <a:rPr lang="en-GB" dirty="0"/>
              <a:t>Click to add text </a:t>
            </a:r>
            <a:endParaRPr lang="en-GB" noProof="0" dirty="0"/>
          </a:p>
        </p:txBody>
      </p:sp>
      <p:sp>
        <p:nvSpPr>
          <p:cNvPr id="17" name="Content Placeholder 2">
            <a:extLst>
              <a:ext uri="{FF2B5EF4-FFF2-40B4-BE49-F238E27FC236}">
                <a16:creationId xmlns:a16="http://schemas.microsoft.com/office/drawing/2014/main" id="{418D3D8A-091D-4BFB-A5DB-F4E694271B33}"/>
              </a:ext>
            </a:extLst>
          </p:cNvPr>
          <p:cNvSpPr>
            <a:spLocks noGrp="1"/>
          </p:cNvSpPr>
          <p:nvPr>
            <p:ph idx="31" hasCustomPrompt="1"/>
          </p:nvPr>
        </p:nvSpPr>
        <p:spPr>
          <a:xfrm>
            <a:off x="575999" y="3893569"/>
            <a:ext cx="5184000" cy="1920323"/>
          </a:xfrm>
        </p:spPr>
        <p:txBody>
          <a:bodyPr/>
          <a:lstStyle>
            <a:lvl1pPr marL="287993" indent="-287993">
              <a:lnSpc>
                <a:spcPct val="95000"/>
              </a:lnSpc>
              <a:spcBef>
                <a:spcPts val="1067"/>
              </a:spcBef>
              <a:buFont typeface="Arial" panose="020B0604020202020204" pitchFamily="34" charset="0"/>
              <a:buChar char="–"/>
              <a:defRPr sz="1733" b="0">
                <a:solidFill>
                  <a:schemeClr val="tx2"/>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800"/>
              </a:spcBef>
              <a:defRPr sz="1733">
                <a:solidFill>
                  <a:schemeClr val="tx2"/>
                </a:solidFill>
                <a:latin typeface="Orsted Sans Office" panose="00000500000000000000" pitchFamily="2" charset="0"/>
              </a:defRPr>
            </a:lvl2pPr>
            <a:lvl3pPr>
              <a:lnSpc>
                <a:spcPct val="95000"/>
              </a:lnSpc>
              <a:spcBef>
                <a:spcPts val="800"/>
              </a:spcBef>
              <a:defRPr sz="1733">
                <a:solidFill>
                  <a:schemeClr val="tx2"/>
                </a:solidFill>
                <a:latin typeface="Orsted Sans Office" panose="00000500000000000000" pitchFamily="2" charset="0"/>
              </a:defRPr>
            </a:lvl3pPr>
            <a:lvl4pPr>
              <a:lnSpc>
                <a:spcPct val="95000"/>
              </a:lnSpc>
              <a:spcBef>
                <a:spcPts val="800"/>
              </a:spcBef>
              <a:defRPr sz="1733">
                <a:solidFill>
                  <a:schemeClr val="tx2"/>
                </a:solidFill>
                <a:latin typeface="Orsted Sans Office" panose="00000500000000000000" pitchFamily="2" charset="0"/>
              </a:defRPr>
            </a:lvl4pPr>
            <a:lvl5pPr>
              <a:lnSpc>
                <a:spcPct val="95000"/>
              </a:lnSpc>
              <a:spcBef>
                <a:spcPts val="800"/>
              </a:spcBef>
              <a:defRPr sz="1733">
                <a:solidFill>
                  <a:schemeClr val="tx2"/>
                </a:solidFill>
                <a:latin typeface="Orsted Sans Office" panose="00000500000000000000" pitchFamily="2" charset="0"/>
              </a:defRPr>
            </a:lvl5pPr>
          </a:lstStyle>
          <a:p>
            <a:pPr lvl="0"/>
            <a:r>
              <a:rPr lang="en-GB" dirty="0"/>
              <a:t>Click to add text </a:t>
            </a:r>
            <a:endParaRPr lang="en-GB" noProof="0" dirty="0"/>
          </a:p>
        </p:txBody>
      </p:sp>
      <p:sp>
        <p:nvSpPr>
          <p:cNvPr id="12" name="Text Placeholder 14">
            <a:extLst>
              <a:ext uri="{FF2B5EF4-FFF2-40B4-BE49-F238E27FC236}">
                <a16:creationId xmlns:a16="http://schemas.microsoft.com/office/drawing/2014/main" id="{0567A9AF-7741-4EE2-9D70-D2F0624DC480}"/>
              </a:ext>
            </a:extLst>
          </p:cNvPr>
          <p:cNvSpPr>
            <a:spLocks noGrp="1"/>
          </p:cNvSpPr>
          <p:nvPr>
            <p:ph type="body" sz="quarter" idx="26" hasCustomPrompt="1"/>
          </p:nvPr>
        </p:nvSpPr>
        <p:spPr>
          <a:xfrm>
            <a:off x="997921" y="6081601"/>
            <a:ext cx="5530109" cy="489879"/>
          </a:xfrm>
        </p:spPr>
        <p:txBody>
          <a:bodyPr anchor="b" anchorCtr="0"/>
          <a:lstStyle>
            <a:lvl1pPr>
              <a:lnSpc>
                <a:spcPct val="95000"/>
              </a:lnSpc>
              <a:spcBef>
                <a:spcPts val="0"/>
              </a:spcBef>
              <a:defRPr sz="933" b="0" baseline="0">
                <a:solidFill>
                  <a:schemeClr val="accent6"/>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7" name="Date Placeholder 6">
            <a:extLst>
              <a:ext uri="{FF2B5EF4-FFF2-40B4-BE49-F238E27FC236}">
                <a16:creationId xmlns:a16="http://schemas.microsoft.com/office/drawing/2014/main" id="{D39F695E-0D3E-4FDD-B9E8-D543EDF56706}"/>
              </a:ext>
            </a:extLst>
          </p:cNvPr>
          <p:cNvSpPr>
            <a:spLocks noGrp="1"/>
          </p:cNvSpPr>
          <p:nvPr>
            <p:ph type="dt" sz="half" idx="3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8" name="Footer Placeholder 7">
            <a:extLst>
              <a:ext uri="{FF2B5EF4-FFF2-40B4-BE49-F238E27FC236}">
                <a16:creationId xmlns:a16="http://schemas.microsoft.com/office/drawing/2014/main" id="{412467ED-AEE3-4363-ACE4-3CEA2F8BFF1D}"/>
              </a:ext>
            </a:extLst>
          </p:cNvPr>
          <p:cNvSpPr>
            <a:spLocks noGrp="1"/>
          </p:cNvSpPr>
          <p:nvPr>
            <p:ph type="ftr" sz="quarter" idx="33"/>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9" name="Slide Number Placeholder 8">
            <a:extLst>
              <a:ext uri="{FF2B5EF4-FFF2-40B4-BE49-F238E27FC236}">
                <a16:creationId xmlns:a16="http://schemas.microsoft.com/office/drawing/2014/main" id="{8D494535-49FD-4CA1-8126-68102801E2BC}"/>
              </a:ext>
            </a:extLst>
          </p:cNvPr>
          <p:cNvSpPr>
            <a:spLocks noGrp="1"/>
          </p:cNvSpPr>
          <p:nvPr>
            <p:ph type="sldNum" sz="quarter" idx="34"/>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24C8C45C-947F-4981-8B3F-4F32E973C901}" type="slidenum">
              <a:rPr lang="en-GB" smtClean="0"/>
              <a:pPr/>
              <a:t>‹#›</a:t>
            </a:fld>
            <a:endParaRPr lang="en-GB" dirty="0"/>
          </a:p>
        </p:txBody>
      </p:sp>
    </p:spTree>
    <p:extLst>
      <p:ext uri="{BB962C8B-B14F-4D97-AF65-F5344CB8AC3E}">
        <p14:creationId xmlns:p14="http://schemas.microsoft.com/office/powerpoint/2010/main" val="1677716770"/>
      </p:ext>
    </p:extLst>
  </p:cSld>
  <p:clrMapOvr>
    <a:masterClrMapping/>
  </p:clrMapOvr>
  <p:extLst>
    <p:ext uri="{DCECCB84-F9BA-43D5-87BE-67443E8EF086}">
      <p15:sldGuideLst xmlns:p15="http://schemas.microsoft.com/office/powerpoint/2012/main">
        <p15:guide id="1" orient="horz" pos="157">
          <p15:clr>
            <a:srgbClr val="FBAE40"/>
          </p15:clr>
        </p15:guide>
        <p15:guide id="2" pos="272">
          <p15:clr>
            <a:srgbClr val="FBAE40"/>
          </p15:clr>
        </p15:guide>
        <p15:guide id="3" pos="5489">
          <p15:clr>
            <a:srgbClr val="FBAE40"/>
          </p15:clr>
        </p15:guide>
        <p15:guide id="4" orient="horz" pos="522">
          <p15:clr>
            <a:srgbClr val="FBAE40"/>
          </p15:clr>
        </p15:guide>
        <p15:guide id="5" orient="horz" pos="647">
          <p15:clr>
            <a:srgbClr val="FBAE40"/>
          </p15:clr>
        </p15:guide>
        <p15:guide id="6" orient="horz" pos="1555">
          <p15:clr>
            <a:srgbClr val="FBAE40"/>
          </p15:clr>
        </p15:guide>
        <p15:guide id="7" orient="horz" pos="2747">
          <p15:clr>
            <a:srgbClr val="FBAE40"/>
          </p15:clr>
        </p15:guide>
        <p15:guide id="8" orient="horz" pos="1839">
          <p15:clr>
            <a:srgbClr val="FBAE40"/>
          </p15:clr>
        </p15:guide>
        <p15:guide id="9" pos="2721">
          <p15:clr>
            <a:srgbClr val="FBAE40"/>
          </p15:clr>
        </p15:guide>
        <p15:guide id="10" pos="3039">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Three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1CE1261-4BC7-47C2-8877-843B910A6BF6}"/>
              </a:ext>
            </a:extLst>
          </p:cNvPr>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38" imgH="338" progId="TCLayout.ActiveDocument.1">
                  <p:embed/>
                </p:oleObj>
              </mc:Choice>
              <mc:Fallback>
                <p:oleObj name="think-cell Slide" r:id="rId3" imgW="338" imgH="338" progId="TCLayout.ActiveDocument.1">
                  <p:embed/>
                  <p:pic>
                    <p:nvPicPr>
                      <p:cNvPr id="3" name="Object 2" hidden="1">
                        <a:extLst>
                          <a:ext uri="{FF2B5EF4-FFF2-40B4-BE49-F238E27FC236}">
                            <a16:creationId xmlns:a16="http://schemas.microsoft.com/office/drawing/2014/main" id="{91CE1261-4BC7-47C2-8877-843B910A6BF6}"/>
                          </a:ext>
                        </a:extLst>
                      </p:cNvPr>
                      <p:cNvPicPr/>
                      <p:nvPr/>
                    </p:nvPicPr>
                    <p:blipFill>
                      <a:blip r:embed="rId4"/>
                      <a:stretch>
                        <a:fillRect/>
                      </a:stretch>
                    </p:blipFill>
                    <p:spPr>
                      <a:xfrm>
                        <a:off x="2118" y="2118"/>
                        <a:ext cx="2116" cy="2116"/>
                      </a:xfrm>
                      <a:prstGeom prst="rect">
                        <a:avLst/>
                      </a:prstGeom>
                    </p:spPr>
                  </p:pic>
                </p:oleObj>
              </mc:Fallback>
            </mc:AlternateContent>
          </a:graphicData>
        </a:graphic>
      </p:graphicFrame>
      <p:sp>
        <p:nvSpPr>
          <p:cNvPr id="11" name="Grå baggrund 3">
            <a:extLst>
              <a:ext uri="{FF2B5EF4-FFF2-40B4-BE49-F238E27FC236}">
                <a16:creationId xmlns:a16="http://schemas.microsoft.com/office/drawing/2014/main" id="{8FFB5C05-F3FA-418B-B7EB-104AB9586026}"/>
              </a:ext>
            </a:extLst>
          </p:cNvPr>
          <p:cNvSpPr/>
          <p:nvPr userDrawn="1"/>
        </p:nvSpPr>
        <p:spPr>
          <a:xfrm>
            <a:off x="6157685" y="1110390"/>
            <a:ext cx="6034529" cy="24330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800"/>
              </a:spcBef>
            </a:pPr>
            <a:endParaRPr lang="en-GB" sz="1333" noProof="0" dirty="0">
              <a:latin typeface="Arial" panose="020B0604020202020204" pitchFamily="34" charset="0"/>
              <a:cs typeface="Arial" panose="020B0604020202020204" pitchFamily="34" charset="0"/>
              <a:sym typeface="Arial" panose="020B0604020202020204" pitchFamily="34" charset="0"/>
            </a:endParaRPr>
          </a:p>
        </p:txBody>
      </p:sp>
      <p:sp>
        <p:nvSpPr>
          <p:cNvPr id="15" name="Grå baggrund 4">
            <a:extLst>
              <a:ext uri="{FF2B5EF4-FFF2-40B4-BE49-F238E27FC236}">
                <a16:creationId xmlns:a16="http://schemas.microsoft.com/office/drawing/2014/main" id="{78993520-EB69-4830-94B5-D53B7E70DCD1}"/>
              </a:ext>
            </a:extLst>
          </p:cNvPr>
          <p:cNvSpPr/>
          <p:nvPr userDrawn="1"/>
        </p:nvSpPr>
        <p:spPr>
          <a:xfrm>
            <a:off x="6157685" y="3641428"/>
            <a:ext cx="6034529" cy="24330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800"/>
              </a:spcBef>
            </a:pPr>
            <a:endParaRPr lang="en-GB" sz="1333" noProof="0" dirty="0">
              <a:latin typeface="Arial" panose="020B0604020202020204" pitchFamily="34" charset="0"/>
              <a:cs typeface="Arial" panose="020B0604020202020204" pitchFamily="34" charset="0"/>
              <a:sym typeface="Arial" panose="020B0604020202020204" pitchFamily="34" charset="0"/>
            </a:endParaRPr>
          </a:p>
        </p:txBody>
      </p:sp>
      <p:sp>
        <p:nvSpPr>
          <p:cNvPr id="12" name="Grå baggrund 1"/>
          <p:cNvSpPr/>
          <p:nvPr userDrawn="1"/>
        </p:nvSpPr>
        <p:spPr>
          <a:xfrm>
            <a:off x="1" y="1110392"/>
            <a:ext cx="6034529" cy="49640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2000"/>
              </a:spcBef>
            </a:pPr>
            <a:endParaRPr lang="en-GB" sz="1733" noProof="0"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eaLnBrk="1">
              <a:defRPr>
                <a:latin typeface="Arial" panose="020B0604020202020204" pitchFamily="34" charset="0"/>
                <a:cs typeface="Arial" panose="020B0604020202020204" pitchFamily="34" charset="0"/>
                <a:sym typeface="Arial" panose="020B0604020202020204" pitchFamily="34" charset="0"/>
              </a:defRPr>
            </a:lvl1pPr>
          </a:lstStyle>
          <a:p>
            <a:r>
              <a:rPr lang="en-GB"/>
              <a:t>Click to edit Master title style</a:t>
            </a:r>
            <a:endParaRPr lang="en-GB" dirty="0"/>
          </a:p>
        </p:txBody>
      </p:sp>
      <p:sp>
        <p:nvSpPr>
          <p:cNvPr id="14" name="Content Placeholder 2"/>
          <p:cNvSpPr>
            <a:spLocks noGrp="1"/>
          </p:cNvSpPr>
          <p:nvPr>
            <p:ph idx="1" hasCustomPrompt="1"/>
          </p:nvPr>
        </p:nvSpPr>
        <p:spPr>
          <a:xfrm>
            <a:off x="575999" y="1371025"/>
            <a:ext cx="5184000" cy="4416000"/>
          </a:xfrm>
        </p:spPr>
        <p:txBody>
          <a:bodyPr/>
          <a:lstStyle>
            <a:lvl1pPr marL="287993" indent="-287993">
              <a:lnSpc>
                <a:spcPct val="95000"/>
              </a:lnSpc>
              <a:spcBef>
                <a:spcPts val="1067"/>
              </a:spcBef>
              <a:buFont typeface="Arial" panose="020B0604020202020204" pitchFamily="34" charset="0"/>
              <a:buChar char="–"/>
              <a:defRPr sz="1733" b="0">
                <a:solidFill>
                  <a:schemeClr val="tx2"/>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2000"/>
              </a:spcBef>
              <a:defRPr sz="1733">
                <a:solidFill>
                  <a:schemeClr val="tx2"/>
                </a:solidFill>
                <a:latin typeface="Orsted Sans Office" panose="00000500000000000000" pitchFamily="2" charset="0"/>
              </a:defRPr>
            </a:lvl2pPr>
            <a:lvl3pPr>
              <a:lnSpc>
                <a:spcPct val="95000"/>
              </a:lnSpc>
              <a:spcBef>
                <a:spcPts val="2000"/>
              </a:spcBef>
              <a:defRPr sz="1733">
                <a:solidFill>
                  <a:schemeClr val="tx2"/>
                </a:solidFill>
                <a:latin typeface="Orsted Sans Office" panose="00000500000000000000" pitchFamily="2" charset="0"/>
              </a:defRPr>
            </a:lvl3pPr>
            <a:lvl4pPr>
              <a:lnSpc>
                <a:spcPct val="95000"/>
              </a:lnSpc>
              <a:spcBef>
                <a:spcPts val="2000"/>
              </a:spcBef>
              <a:defRPr sz="1733">
                <a:solidFill>
                  <a:schemeClr val="tx2"/>
                </a:solidFill>
                <a:latin typeface="Orsted Sans Office" panose="00000500000000000000" pitchFamily="2" charset="0"/>
              </a:defRPr>
            </a:lvl4pPr>
            <a:lvl5pPr>
              <a:lnSpc>
                <a:spcPct val="95000"/>
              </a:lnSpc>
              <a:spcBef>
                <a:spcPts val="2000"/>
              </a:spcBef>
              <a:defRPr sz="1733">
                <a:solidFill>
                  <a:schemeClr val="tx2"/>
                </a:solidFill>
                <a:latin typeface="Orsted Sans Office" panose="00000500000000000000" pitchFamily="2" charset="0"/>
              </a:defRPr>
            </a:lvl5pPr>
          </a:lstStyle>
          <a:p>
            <a:pPr lvl="0"/>
            <a:r>
              <a:rPr lang="en-GB" dirty="0"/>
              <a:t>Click to add text </a:t>
            </a:r>
            <a:endParaRPr lang="en-GB" noProof="0" dirty="0"/>
          </a:p>
        </p:txBody>
      </p:sp>
      <p:sp>
        <p:nvSpPr>
          <p:cNvPr id="9" name="Content Placeholder 2">
            <a:extLst>
              <a:ext uri="{FF2B5EF4-FFF2-40B4-BE49-F238E27FC236}">
                <a16:creationId xmlns:a16="http://schemas.microsoft.com/office/drawing/2014/main" id="{A57738C9-DA24-4CF0-8DAD-EA13572AF5D6}"/>
              </a:ext>
            </a:extLst>
          </p:cNvPr>
          <p:cNvSpPr>
            <a:spLocks noGrp="1"/>
          </p:cNvSpPr>
          <p:nvPr>
            <p:ph idx="32" hasCustomPrompt="1"/>
          </p:nvPr>
        </p:nvSpPr>
        <p:spPr>
          <a:xfrm>
            <a:off x="6433895" y="3866703"/>
            <a:ext cx="5184000" cy="1920323"/>
          </a:xfrm>
        </p:spPr>
        <p:txBody>
          <a:bodyPr/>
          <a:lstStyle>
            <a:lvl1pPr marL="287993" indent="-287993">
              <a:lnSpc>
                <a:spcPct val="95000"/>
              </a:lnSpc>
              <a:spcBef>
                <a:spcPts val="1067"/>
              </a:spcBef>
              <a:buFont typeface="Arial" panose="020B0604020202020204" pitchFamily="34" charset="0"/>
              <a:buChar char="–"/>
              <a:defRPr sz="1733" b="0">
                <a:solidFill>
                  <a:schemeClr val="tx2"/>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800"/>
              </a:spcBef>
              <a:defRPr sz="1733">
                <a:solidFill>
                  <a:schemeClr val="tx2"/>
                </a:solidFill>
                <a:latin typeface="Orsted Sans Office" panose="00000500000000000000" pitchFamily="2" charset="0"/>
              </a:defRPr>
            </a:lvl2pPr>
            <a:lvl3pPr>
              <a:lnSpc>
                <a:spcPct val="95000"/>
              </a:lnSpc>
              <a:spcBef>
                <a:spcPts val="800"/>
              </a:spcBef>
              <a:defRPr sz="1733">
                <a:solidFill>
                  <a:schemeClr val="tx2"/>
                </a:solidFill>
                <a:latin typeface="Orsted Sans Office" panose="00000500000000000000" pitchFamily="2" charset="0"/>
              </a:defRPr>
            </a:lvl3pPr>
            <a:lvl4pPr>
              <a:lnSpc>
                <a:spcPct val="95000"/>
              </a:lnSpc>
              <a:spcBef>
                <a:spcPts val="800"/>
              </a:spcBef>
              <a:defRPr sz="1733">
                <a:solidFill>
                  <a:schemeClr val="tx2"/>
                </a:solidFill>
                <a:latin typeface="Orsted Sans Office" panose="00000500000000000000" pitchFamily="2" charset="0"/>
              </a:defRPr>
            </a:lvl4pPr>
            <a:lvl5pPr>
              <a:lnSpc>
                <a:spcPct val="95000"/>
              </a:lnSpc>
              <a:spcBef>
                <a:spcPts val="800"/>
              </a:spcBef>
              <a:defRPr sz="1733">
                <a:solidFill>
                  <a:schemeClr val="tx2"/>
                </a:solidFill>
                <a:latin typeface="Orsted Sans Office" panose="00000500000000000000" pitchFamily="2" charset="0"/>
              </a:defRPr>
            </a:lvl5pPr>
          </a:lstStyle>
          <a:p>
            <a:pPr lvl="0"/>
            <a:r>
              <a:rPr lang="en-GB" dirty="0"/>
              <a:t>Click to add text </a:t>
            </a:r>
            <a:endParaRPr lang="en-GB" noProof="0" dirty="0"/>
          </a:p>
        </p:txBody>
      </p:sp>
      <p:sp>
        <p:nvSpPr>
          <p:cNvPr id="10" name="Content Placeholder 2">
            <a:extLst>
              <a:ext uri="{FF2B5EF4-FFF2-40B4-BE49-F238E27FC236}">
                <a16:creationId xmlns:a16="http://schemas.microsoft.com/office/drawing/2014/main" id="{34BB4B54-94C1-4B8F-955D-4A138B4885B3}"/>
              </a:ext>
            </a:extLst>
          </p:cNvPr>
          <p:cNvSpPr>
            <a:spLocks noGrp="1"/>
          </p:cNvSpPr>
          <p:nvPr>
            <p:ph idx="33" hasCustomPrompt="1"/>
          </p:nvPr>
        </p:nvSpPr>
        <p:spPr>
          <a:xfrm>
            <a:off x="6433895" y="1371025"/>
            <a:ext cx="5184000" cy="1920323"/>
          </a:xfrm>
        </p:spPr>
        <p:txBody>
          <a:bodyPr/>
          <a:lstStyle>
            <a:lvl1pPr marL="287993" indent="-287993">
              <a:lnSpc>
                <a:spcPct val="95000"/>
              </a:lnSpc>
              <a:spcBef>
                <a:spcPts val="1067"/>
              </a:spcBef>
              <a:buFont typeface="Arial" panose="020B0604020202020204" pitchFamily="34" charset="0"/>
              <a:buChar char="–"/>
              <a:defRPr sz="1733" b="0">
                <a:solidFill>
                  <a:schemeClr val="tx2"/>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800"/>
              </a:spcBef>
              <a:defRPr sz="1733">
                <a:solidFill>
                  <a:schemeClr val="tx2"/>
                </a:solidFill>
                <a:latin typeface="Orsted Sans Office" panose="00000500000000000000" pitchFamily="2" charset="0"/>
              </a:defRPr>
            </a:lvl2pPr>
            <a:lvl3pPr>
              <a:lnSpc>
                <a:spcPct val="95000"/>
              </a:lnSpc>
              <a:spcBef>
                <a:spcPts val="800"/>
              </a:spcBef>
              <a:defRPr sz="1733">
                <a:solidFill>
                  <a:schemeClr val="tx2"/>
                </a:solidFill>
                <a:latin typeface="Orsted Sans Office" panose="00000500000000000000" pitchFamily="2" charset="0"/>
              </a:defRPr>
            </a:lvl3pPr>
            <a:lvl4pPr>
              <a:lnSpc>
                <a:spcPct val="95000"/>
              </a:lnSpc>
              <a:spcBef>
                <a:spcPts val="800"/>
              </a:spcBef>
              <a:defRPr sz="1733">
                <a:solidFill>
                  <a:schemeClr val="tx2"/>
                </a:solidFill>
                <a:latin typeface="Orsted Sans Office" panose="00000500000000000000" pitchFamily="2" charset="0"/>
              </a:defRPr>
            </a:lvl4pPr>
            <a:lvl5pPr>
              <a:lnSpc>
                <a:spcPct val="95000"/>
              </a:lnSpc>
              <a:spcBef>
                <a:spcPts val="800"/>
              </a:spcBef>
              <a:defRPr sz="1733">
                <a:solidFill>
                  <a:schemeClr val="tx2"/>
                </a:solidFill>
                <a:latin typeface="Orsted Sans Office" panose="00000500000000000000" pitchFamily="2" charset="0"/>
              </a:defRPr>
            </a:lvl5pPr>
          </a:lstStyle>
          <a:p>
            <a:pPr lvl="0"/>
            <a:r>
              <a:rPr lang="en-GB" dirty="0"/>
              <a:t>Click to add text </a:t>
            </a:r>
            <a:endParaRPr lang="en-GB" noProof="0" dirty="0"/>
          </a:p>
        </p:txBody>
      </p:sp>
      <p:sp>
        <p:nvSpPr>
          <p:cNvPr id="13" name="Text Placeholder 14">
            <a:extLst>
              <a:ext uri="{FF2B5EF4-FFF2-40B4-BE49-F238E27FC236}">
                <a16:creationId xmlns:a16="http://schemas.microsoft.com/office/drawing/2014/main" id="{32334051-2DCD-4BF5-8E3B-66EFA5476E02}"/>
              </a:ext>
            </a:extLst>
          </p:cNvPr>
          <p:cNvSpPr>
            <a:spLocks noGrp="1"/>
          </p:cNvSpPr>
          <p:nvPr>
            <p:ph type="body" sz="quarter" idx="26" hasCustomPrompt="1"/>
          </p:nvPr>
        </p:nvSpPr>
        <p:spPr>
          <a:xfrm>
            <a:off x="997921" y="6081601"/>
            <a:ext cx="5530109" cy="489879"/>
          </a:xfrm>
        </p:spPr>
        <p:txBody>
          <a:bodyPr anchor="b" anchorCtr="0"/>
          <a:lstStyle>
            <a:lvl1pPr>
              <a:lnSpc>
                <a:spcPct val="95000"/>
              </a:lnSpc>
              <a:spcBef>
                <a:spcPts val="0"/>
              </a:spcBef>
              <a:defRPr sz="933" b="0" baseline="0">
                <a:solidFill>
                  <a:schemeClr val="accent6"/>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7" name="Date Placeholder 6">
            <a:extLst>
              <a:ext uri="{FF2B5EF4-FFF2-40B4-BE49-F238E27FC236}">
                <a16:creationId xmlns:a16="http://schemas.microsoft.com/office/drawing/2014/main" id="{25B9EBBF-7DC2-4775-93C3-5633EE2D8A78}"/>
              </a:ext>
            </a:extLst>
          </p:cNvPr>
          <p:cNvSpPr>
            <a:spLocks noGrp="1"/>
          </p:cNvSpPr>
          <p:nvPr>
            <p:ph type="dt" sz="half" idx="34"/>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8" name="Footer Placeholder 7">
            <a:extLst>
              <a:ext uri="{FF2B5EF4-FFF2-40B4-BE49-F238E27FC236}">
                <a16:creationId xmlns:a16="http://schemas.microsoft.com/office/drawing/2014/main" id="{EDA77958-D1EC-4B20-B77D-1687DE4961AC}"/>
              </a:ext>
            </a:extLst>
          </p:cNvPr>
          <p:cNvSpPr>
            <a:spLocks noGrp="1"/>
          </p:cNvSpPr>
          <p:nvPr>
            <p:ph type="ftr" sz="quarter" idx="35"/>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16" name="Slide Number Placeholder 15">
            <a:extLst>
              <a:ext uri="{FF2B5EF4-FFF2-40B4-BE49-F238E27FC236}">
                <a16:creationId xmlns:a16="http://schemas.microsoft.com/office/drawing/2014/main" id="{85EB232F-6CFF-4FB5-A0AA-03B7A38444A8}"/>
              </a:ext>
            </a:extLst>
          </p:cNvPr>
          <p:cNvSpPr>
            <a:spLocks noGrp="1"/>
          </p:cNvSpPr>
          <p:nvPr>
            <p:ph type="sldNum" sz="quarter" idx="36"/>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24C8C45C-947F-4981-8B3F-4F32E973C901}" type="slidenum">
              <a:rPr lang="en-GB" smtClean="0"/>
              <a:pPr/>
              <a:t>‹#›</a:t>
            </a:fld>
            <a:endParaRPr lang="en-GB" dirty="0"/>
          </a:p>
        </p:txBody>
      </p:sp>
    </p:spTree>
    <p:extLst>
      <p:ext uri="{BB962C8B-B14F-4D97-AF65-F5344CB8AC3E}">
        <p14:creationId xmlns:p14="http://schemas.microsoft.com/office/powerpoint/2010/main" val="1385818598"/>
      </p:ext>
    </p:extLst>
  </p:cSld>
  <p:clrMapOvr>
    <a:masterClrMapping/>
  </p:clrMapOvr>
  <p:extLst>
    <p:ext uri="{DCECCB84-F9BA-43D5-87BE-67443E8EF086}">
      <p15:sldGuideLst xmlns:p15="http://schemas.microsoft.com/office/powerpoint/2012/main">
        <p15:guide id="1" orient="horz" pos="153">
          <p15:clr>
            <a:srgbClr val="FBAE40"/>
          </p15:clr>
        </p15:guide>
        <p15:guide id="2" pos="272">
          <p15:clr>
            <a:srgbClr val="FBAE40"/>
          </p15:clr>
        </p15:guide>
        <p15:guide id="3" pos="2721">
          <p15:clr>
            <a:srgbClr val="FBAE40"/>
          </p15:clr>
        </p15:guide>
        <p15:guide id="4" pos="3039">
          <p15:clr>
            <a:srgbClr val="FBAE40"/>
          </p15:clr>
        </p15:guide>
        <p15:guide id="5" pos="5489">
          <p15:clr>
            <a:srgbClr val="FBAE40"/>
          </p15:clr>
        </p15:guide>
        <p15:guide id="6" orient="horz" pos="523">
          <p15:clr>
            <a:srgbClr val="FBAE40"/>
          </p15:clr>
        </p15:guide>
        <p15:guide id="7" orient="horz" pos="647">
          <p15:clr>
            <a:srgbClr val="FBAE40"/>
          </p15:clr>
        </p15:guide>
        <p15:guide id="8" orient="horz" pos="1555">
          <p15:clr>
            <a:srgbClr val="FBAE40"/>
          </p15:clr>
        </p15:guide>
        <p15:guide id="9" orient="horz" pos="1826">
          <p15:clr>
            <a:srgbClr val="FBAE40"/>
          </p15:clr>
        </p15:guide>
        <p15:guide id="10" orient="horz" pos="275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813" y="1441"/>
          <a:ext cx="1809" cy="1440"/>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6" name="Object 5" hidden="1"/>
                      <p:cNvPicPr/>
                      <p:nvPr/>
                    </p:nvPicPr>
                    <p:blipFill>
                      <a:blip r:embed="rId5"/>
                      <a:stretch>
                        <a:fillRect/>
                      </a:stretch>
                    </p:blipFill>
                    <p:spPr>
                      <a:xfrm>
                        <a:off x="1813" y="1441"/>
                        <a:ext cx="1809" cy="144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75BC44-A83C-48EC-BEA8-6C3656C38304}"/>
              </a:ext>
            </a:extLst>
          </p:cNvPr>
          <p:cNvSpPr/>
          <p:nvPr userDrawn="1">
            <p:custDataLst>
              <p:tags r:id="rId2"/>
            </p:custDataLst>
          </p:nvPr>
        </p:nvSpPr>
        <p:spPr>
          <a:xfrm>
            <a:off x="0" y="0"/>
            <a:ext cx="211667" cy="21166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5000"/>
              </a:lnSpc>
              <a:spcBef>
                <a:spcPct val="0"/>
              </a:spcBef>
              <a:spcAft>
                <a:spcPct val="0"/>
              </a:spcAft>
            </a:pPr>
            <a:endParaRPr lang="en-GB" sz="1996" b="1" i="0" baseline="0" noProof="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Grå baggrund 1"/>
          <p:cNvSpPr/>
          <p:nvPr userDrawn="1"/>
        </p:nvSpPr>
        <p:spPr>
          <a:xfrm>
            <a:off x="1" y="1110390"/>
            <a:ext cx="6034529" cy="24330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800"/>
              </a:spcBef>
            </a:pPr>
            <a:endParaRPr lang="en-GB" sz="1333" noProof="0" dirty="0">
              <a:latin typeface="Arial" panose="020B0604020202020204" pitchFamily="34" charset="0"/>
              <a:cs typeface="Arial" panose="020B0604020202020204" pitchFamily="34" charset="0"/>
              <a:sym typeface="Arial" panose="020B0604020202020204" pitchFamily="34" charset="0"/>
            </a:endParaRPr>
          </a:p>
        </p:txBody>
      </p:sp>
      <p:sp>
        <p:nvSpPr>
          <p:cNvPr id="8" name="Grå baggrund 2"/>
          <p:cNvSpPr/>
          <p:nvPr userDrawn="1"/>
        </p:nvSpPr>
        <p:spPr>
          <a:xfrm>
            <a:off x="1" y="3641428"/>
            <a:ext cx="6034529" cy="24330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800"/>
              </a:spcBef>
            </a:pPr>
            <a:endParaRPr lang="en-GB" sz="1333" noProof="0" dirty="0">
              <a:latin typeface="Arial" panose="020B0604020202020204" pitchFamily="34" charset="0"/>
              <a:cs typeface="Arial" panose="020B0604020202020204" pitchFamily="34" charset="0"/>
              <a:sym typeface="Arial" panose="020B0604020202020204" pitchFamily="34" charset="0"/>
            </a:endParaRPr>
          </a:p>
        </p:txBody>
      </p:sp>
      <p:sp>
        <p:nvSpPr>
          <p:cNvPr id="13" name="Grå baggrund 3"/>
          <p:cNvSpPr/>
          <p:nvPr userDrawn="1"/>
        </p:nvSpPr>
        <p:spPr>
          <a:xfrm>
            <a:off x="6157685" y="1110390"/>
            <a:ext cx="6034529" cy="24330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800"/>
              </a:spcBef>
            </a:pPr>
            <a:endParaRPr lang="en-GB" sz="1333" noProof="0" dirty="0">
              <a:latin typeface="Arial" panose="020B0604020202020204" pitchFamily="34" charset="0"/>
              <a:cs typeface="Arial" panose="020B0604020202020204" pitchFamily="34" charset="0"/>
              <a:sym typeface="Arial" panose="020B0604020202020204" pitchFamily="34" charset="0"/>
            </a:endParaRPr>
          </a:p>
        </p:txBody>
      </p:sp>
      <p:sp>
        <p:nvSpPr>
          <p:cNvPr id="9" name="Grå baggrund 4"/>
          <p:cNvSpPr/>
          <p:nvPr userDrawn="1"/>
        </p:nvSpPr>
        <p:spPr>
          <a:xfrm>
            <a:off x="6157685" y="3641428"/>
            <a:ext cx="6034529" cy="24330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800"/>
              </a:spcBef>
            </a:pPr>
            <a:endParaRPr lang="en-GB" sz="1333" noProof="0" dirty="0">
              <a:latin typeface="Arial" panose="020B0604020202020204" pitchFamily="34" charset="0"/>
              <a:cs typeface="Arial" panose="020B0604020202020204" pitchFamily="34" charset="0"/>
              <a:sym typeface="Arial" panose="020B0604020202020204" pitchFamily="34" charset="0"/>
            </a:endParaRPr>
          </a:p>
        </p:txBody>
      </p:sp>
      <p:sp>
        <p:nvSpPr>
          <p:cNvPr id="16" name="Content Placeholder 2"/>
          <p:cNvSpPr>
            <a:spLocks noGrp="1"/>
          </p:cNvSpPr>
          <p:nvPr>
            <p:ph idx="1" hasCustomPrompt="1"/>
          </p:nvPr>
        </p:nvSpPr>
        <p:spPr>
          <a:xfrm>
            <a:off x="575999" y="1371025"/>
            <a:ext cx="5183452" cy="1920323"/>
          </a:xfrm>
        </p:spPr>
        <p:txBody>
          <a:bodyPr/>
          <a:lstStyle>
            <a:lvl1pPr marL="287993" indent="-287993">
              <a:lnSpc>
                <a:spcPct val="95000"/>
              </a:lnSpc>
              <a:spcBef>
                <a:spcPts val="800"/>
              </a:spcBef>
              <a:buFont typeface="Arial" panose="020B0604020202020204" pitchFamily="34" charset="0"/>
              <a:buChar char="–"/>
              <a:defRPr sz="1333" b="0">
                <a:solidFill>
                  <a:schemeClr val="tx2"/>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800"/>
              </a:spcBef>
              <a:defRPr sz="1333">
                <a:solidFill>
                  <a:schemeClr val="tx2"/>
                </a:solidFill>
                <a:latin typeface="Arial" panose="020B0604020202020204" pitchFamily="34" charset="0"/>
                <a:cs typeface="Arial" panose="020B0604020202020204" pitchFamily="34" charset="0"/>
                <a:sym typeface="Arial" panose="020B0604020202020204" pitchFamily="34" charset="0"/>
              </a:defRPr>
            </a:lvl2pPr>
            <a:lvl3pPr>
              <a:lnSpc>
                <a:spcPct val="95000"/>
              </a:lnSpc>
              <a:spcBef>
                <a:spcPts val="800"/>
              </a:spcBef>
              <a:defRPr sz="1333">
                <a:solidFill>
                  <a:schemeClr val="tx2"/>
                </a:solidFill>
                <a:latin typeface="Arial" panose="020B0604020202020204" pitchFamily="34" charset="0"/>
                <a:cs typeface="Arial" panose="020B0604020202020204" pitchFamily="34" charset="0"/>
                <a:sym typeface="Arial" panose="020B0604020202020204" pitchFamily="34" charset="0"/>
              </a:defRPr>
            </a:lvl3pPr>
            <a:lvl4pPr>
              <a:lnSpc>
                <a:spcPct val="95000"/>
              </a:lnSpc>
              <a:spcBef>
                <a:spcPts val="800"/>
              </a:spcBef>
              <a:defRPr sz="1333">
                <a:solidFill>
                  <a:schemeClr val="tx2"/>
                </a:solidFill>
                <a:latin typeface="Arial" panose="020B0604020202020204" pitchFamily="34" charset="0"/>
                <a:cs typeface="Arial" panose="020B0604020202020204" pitchFamily="34" charset="0"/>
                <a:sym typeface="Arial" panose="020B0604020202020204" pitchFamily="34" charset="0"/>
              </a:defRPr>
            </a:lvl4pPr>
            <a:lvl5pPr>
              <a:lnSpc>
                <a:spcPct val="95000"/>
              </a:lnSpc>
              <a:spcBef>
                <a:spcPts val="800"/>
              </a:spcBef>
              <a:defRPr sz="1333">
                <a:solidFill>
                  <a:schemeClr val="tx2"/>
                </a:solidFill>
                <a:latin typeface="Arial" panose="020B0604020202020204" pitchFamily="34" charset="0"/>
                <a:cs typeface="Arial" panose="020B0604020202020204" pitchFamily="34" charset="0"/>
                <a:sym typeface="Arial" panose="020B0604020202020204" pitchFamily="34" charset="0"/>
              </a:defRPr>
            </a:lvl5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9" name="Content Placeholder 2"/>
          <p:cNvSpPr>
            <a:spLocks noGrp="1"/>
          </p:cNvSpPr>
          <p:nvPr>
            <p:ph idx="31" hasCustomPrompt="1"/>
          </p:nvPr>
        </p:nvSpPr>
        <p:spPr>
          <a:xfrm>
            <a:off x="575999" y="3894171"/>
            <a:ext cx="5183452" cy="1920323"/>
          </a:xfrm>
        </p:spPr>
        <p:txBody>
          <a:bodyPr/>
          <a:lstStyle>
            <a:lvl1pPr marL="287993" indent="-287993">
              <a:lnSpc>
                <a:spcPct val="95000"/>
              </a:lnSpc>
              <a:spcBef>
                <a:spcPts val="800"/>
              </a:spcBef>
              <a:buFont typeface="Arial" panose="020B0604020202020204" pitchFamily="34" charset="0"/>
              <a:buChar char="–"/>
              <a:defRPr sz="1333" b="0">
                <a:solidFill>
                  <a:schemeClr val="tx2"/>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800"/>
              </a:spcBef>
              <a:defRPr sz="1333">
                <a:solidFill>
                  <a:schemeClr val="tx2"/>
                </a:solidFill>
                <a:latin typeface="Arial" panose="020B0604020202020204" pitchFamily="34" charset="0"/>
                <a:cs typeface="Arial" panose="020B0604020202020204" pitchFamily="34" charset="0"/>
                <a:sym typeface="Arial" panose="020B0604020202020204" pitchFamily="34" charset="0"/>
              </a:defRPr>
            </a:lvl2pPr>
            <a:lvl3pPr>
              <a:lnSpc>
                <a:spcPct val="95000"/>
              </a:lnSpc>
              <a:spcBef>
                <a:spcPts val="800"/>
              </a:spcBef>
              <a:defRPr sz="1333">
                <a:solidFill>
                  <a:schemeClr val="tx2"/>
                </a:solidFill>
                <a:latin typeface="Arial" panose="020B0604020202020204" pitchFamily="34" charset="0"/>
                <a:cs typeface="Arial" panose="020B0604020202020204" pitchFamily="34" charset="0"/>
                <a:sym typeface="Arial" panose="020B0604020202020204" pitchFamily="34" charset="0"/>
              </a:defRPr>
            </a:lvl3pPr>
            <a:lvl4pPr>
              <a:lnSpc>
                <a:spcPct val="95000"/>
              </a:lnSpc>
              <a:spcBef>
                <a:spcPts val="800"/>
              </a:spcBef>
              <a:defRPr sz="1333">
                <a:solidFill>
                  <a:schemeClr val="tx2"/>
                </a:solidFill>
                <a:latin typeface="Arial" panose="020B0604020202020204" pitchFamily="34" charset="0"/>
                <a:cs typeface="Arial" panose="020B0604020202020204" pitchFamily="34" charset="0"/>
                <a:sym typeface="Arial" panose="020B0604020202020204" pitchFamily="34" charset="0"/>
              </a:defRPr>
            </a:lvl4pPr>
            <a:lvl5pPr>
              <a:lnSpc>
                <a:spcPct val="95000"/>
              </a:lnSpc>
              <a:spcBef>
                <a:spcPts val="800"/>
              </a:spcBef>
              <a:defRPr sz="1333">
                <a:solidFill>
                  <a:schemeClr val="tx2"/>
                </a:solidFill>
                <a:latin typeface="Arial" panose="020B0604020202020204" pitchFamily="34" charset="0"/>
                <a:cs typeface="Arial" panose="020B0604020202020204" pitchFamily="34" charset="0"/>
                <a:sym typeface="Arial" panose="020B0604020202020204" pitchFamily="34" charset="0"/>
              </a:defRPr>
            </a:lvl5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1" name="Content Placeholder 2"/>
          <p:cNvSpPr>
            <a:spLocks noGrp="1"/>
          </p:cNvSpPr>
          <p:nvPr>
            <p:ph idx="32" hasCustomPrompt="1"/>
          </p:nvPr>
        </p:nvSpPr>
        <p:spPr>
          <a:xfrm>
            <a:off x="6432550" y="3894171"/>
            <a:ext cx="5181029" cy="1920323"/>
          </a:xfrm>
        </p:spPr>
        <p:txBody>
          <a:bodyPr/>
          <a:lstStyle>
            <a:lvl1pPr marL="287993" indent="-287993">
              <a:lnSpc>
                <a:spcPct val="95000"/>
              </a:lnSpc>
              <a:spcBef>
                <a:spcPts val="800"/>
              </a:spcBef>
              <a:buFont typeface="Arial" panose="020B0604020202020204" pitchFamily="34" charset="0"/>
              <a:buChar char="–"/>
              <a:defRPr sz="1333" b="0">
                <a:solidFill>
                  <a:schemeClr val="tx2"/>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800"/>
              </a:spcBef>
              <a:defRPr sz="1333">
                <a:solidFill>
                  <a:schemeClr val="tx2"/>
                </a:solidFill>
                <a:latin typeface="Arial" panose="020B0604020202020204" pitchFamily="34" charset="0"/>
                <a:cs typeface="Arial" panose="020B0604020202020204" pitchFamily="34" charset="0"/>
                <a:sym typeface="Arial" panose="020B0604020202020204" pitchFamily="34" charset="0"/>
              </a:defRPr>
            </a:lvl2pPr>
            <a:lvl3pPr>
              <a:lnSpc>
                <a:spcPct val="95000"/>
              </a:lnSpc>
              <a:spcBef>
                <a:spcPts val="800"/>
              </a:spcBef>
              <a:defRPr sz="1333">
                <a:solidFill>
                  <a:schemeClr val="tx2"/>
                </a:solidFill>
                <a:latin typeface="Arial" panose="020B0604020202020204" pitchFamily="34" charset="0"/>
                <a:cs typeface="Arial" panose="020B0604020202020204" pitchFamily="34" charset="0"/>
                <a:sym typeface="Arial" panose="020B0604020202020204" pitchFamily="34" charset="0"/>
              </a:defRPr>
            </a:lvl3pPr>
            <a:lvl4pPr>
              <a:lnSpc>
                <a:spcPct val="95000"/>
              </a:lnSpc>
              <a:spcBef>
                <a:spcPts val="800"/>
              </a:spcBef>
              <a:defRPr sz="1333">
                <a:solidFill>
                  <a:schemeClr val="tx2"/>
                </a:solidFill>
                <a:latin typeface="Arial" panose="020B0604020202020204" pitchFamily="34" charset="0"/>
                <a:cs typeface="Arial" panose="020B0604020202020204" pitchFamily="34" charset="0"/>
                <a:sym typeface="Arial" panose="020B0604020202020204" pitchFamily="34" charset="0"/>
              </a:defRPr>
            </a:lvl4pPr>
            <a:lvl5pPr>
              <a:lnSpc>
                <a:spcPct val="95000"/>
              </a:lnSpc>
              <a:spcBef>
                <a:spcPts val="800"/>
              </a:spcBef>
              <a:defRPr sz="1333">
                <a:solidFill>
                  <a:schemeClr val="tx2"/>
                </a:solidFill>
                <a:latin typeface="Arial" panose="020B0604020202020204" pitchFamily="34" charset="0"/>
                <a:cs typeface="Arial" panose="020B0604020202020204" pitchFamily="34" charset="0"/>
                <a:sym typeface="Arial" panose="020B0604020202020204" pitchFamily="34" charset="0"/>
              </a:defRPr>
            </a:lvl5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3" name="Content Placeholder 2"/>
          <p:cNvSpPr>
            <a:spLocks noGrp="1"/>
          </p:cNvSpPr>
          <p:nvPr>
            <p:ph idx="33" hasCustomPrompt="1"/>
          </p:nvPr>
        </p:nvSpPr>
        <p:spPr>
          <a:xfrm>
            <a:off x="6432550" y="1371025"/>
            <a:ext cx="5181028" cy="1920323"/>
          </a:xfrm>
        </p:spPr>
        <p:txBody>
          <a:bodyPr/>
          <a:lstStyle>
            <a:lvl1pPr marL="287993" indent="-287993">
              <a:lnSpc>
                <a:spcPct val="95000"/>
              </a:lnSpc>
              <a:spcBef>
                <a:spcPts val="800"/>
              </a:spcBef>
              <a:buFont typeface="Arial" panose="020B0604020202020204" pitchFamily="34" charset="0"/>
              <a:buChar char="–"/>
              <a:defRPr sz="1333" b="0">
                <a:solidFill>
                  <a:schemeClr val="tx2"/>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800"/>
              </a:spcBef>
              <a:defRPr sz="1333">
                <a:solidFill>
                  <a:schemeClr val="tx2"/>
                </a:solidFill>
                <a:latin typeface="Arial" panose="020B0604020202020204" pitchFamily="34" charset="0"/>
                <a:cs typeface="Arial" panose="020B0604020202020204" pitchFamily="34" charset="0"/>
                <a:sym typeface="Arial" panose="020B0604020202020204" pitchFamily="34" charset="0"/>
              </a:defRPr>
            </a:lvl2pPr>
            <a:lvl3pPr>
              <a:lnSpc>
                <a:spcPct val="95000"/>
              </a:lnSpc>
              <a:spcBef>
                <a:spcPts val="800"/>
              </a:spcBef>
              <a:defRPr sz="1333">
                <a:solidFill>
                  <a:schemeClr val="tx2"/>
                </a:solidFill>
                <a:latin typeface="Arial" panose="020B0604020202020204" pitchFamily="34" charset="0"/>
                <a:cs typeface="Arial" panose="020B0604020202020204" pitchFamily="34" charset="0"/>
                <a:sym typeface="Arial" panose="020B0604020202020204" pitchFamily="34" charset="0"/>
              </a:defRPr>
            </a:lvl3pPr>
            <a:lvl4pPr>
              <a:lnSpc>
                <a:spcPct val="95000"/>
              </a:lnSpc>
              <a:spcBef>
                <a:spcPts val="800"/>
              </a:spcBef>
              <a:defRPr sz="1333">
                <a:solidFill>
                  <a:schemeClr val="tx2"/>
                </a:solidFill>
                <a:latin typeface="Arial" panose="020B0604020202020204" pitchFamily="34" charset="0"/>
                <a:cs typeface="Arial" panose="020B0604020202020204" pitchFamily="34" charset="0"/>
                <a:sym typeface="Arial" panose="020B0604020202020204" pitchFamily="34" charset="0"/>
              </a:defRPr>
            </a:lvl4pPr>
            <a:lvl5pPr>
              <a:lnSpc>
                <a:spcPct val="95000"/>
              </a:lnSpc>
              <a:spcBef>
                <a:spcPts val="800"/>
              </a:spcBef>
              <a:defRPr sz="1333">
                <a:solidFill>
                  <a:schemeClr val="tx2"/>
                </a:solidFill>
                <a:latin typeface="Arial" panose="020B0604020202020204" pitchFamily="34" charset="0"/>
                <a:cs typeface="Arial" panose="020B0604020202020204" pitchFamily="34" charset="0"/>
                <a:sym typeface="Arial" panose="020B0604020202020204" pitchFamily="34" charset="0"/>
              </a:defRPr>
            </a:lvl5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4" name="Text Placeholder 14">
            <a:extLst>
              <a:ext uri="{FF2B5EF4-FFF2-40B4-BE49-F238E27FC236}">
                <a16:creationId xmlns:a16="http://schemas.microsoft.com/office/drawing/2014/main" id="{DBB1C826-8422-4628-93A8-315ECBAB1362}"/>
              </a:ext>
            </a:extLst>
          </p:cNvPr>
          <p:cNvSpPr>
            <a:spLocks noGrp="1"/>
          </p:cNvSpPr>
          <p:nvPr>
            <p:ph type="body" sz="quarter" idx="26" hasCustomPrompt="1"/>
          </p:nvPr>
        </p:nvSpPr>
        <p:spPr>
          <a:xfrm>
            <a:off x="997921" y="6081601"/>
            <a:ext cx="5530109" cy="489879"/>
          </a:xfrm>
        </p:spPr>
        <p:txBody>
          <a:bodyPr anchor="b" anchorCtr="0"/>
          <a:lstStyle>
            <a:lvl1pPr>
              <a:lnSpc>
                <a:spcPct val="95000"/>
              </a:lnSpc>
              <a:spcBef>
                <a:spcPts val="0"/>
              </a:spcBef>
              <a:defRPr sz="933" b="0" baseline="0">
                <a:solidFill>
                  <a:schemeClr val="accent6"/>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7" name="Date Placeholder 6">
            <a:extLst>
              <a:ext uri="{FF2B5EF4-FFF2-40B4-BE49-F238E27FC236}">
                <a16:creationId xmlns:a16="http://schemas.microsoft.com/office/drawing/2014/main" id="{933B0E5D-0517-4B25-9FCC-D7B9FC98149A}"/>
              </a:ext>
            </a:extLst>
          </p:cNvPr>
          <p:cNvSpPr>
            <a:spLocks noGrp="1"/>
          </p:cNvSpPr>
          <p:nvPr>
            <p:ph type="dt" sz="half" idx="34"/>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10" name="Footer Placeholder 9">
            <a:extLst>
              <a:ext uri="{FF2B5EF4-FFF2-40B4-BE49-F238E27FC236}">
                <a16:creationId xmlns:a16="http://schemas.microsoft.com/office/drawing/2014/main" id="{349165C3-E25F-41B6-BC7F-347083ABD968}"/>
              </a:ext>
            </a:extLst>
          </p:cNvPr>
          <p:cNvSpPr>
            <a:spLocks noGrp="1"/>
          </p:cNvSpPr>
          <p:nvPr>
            <p:ph type="ftr" sz="quarter" idx="35"/>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11" name="Slide Number Placeholder 10">
            <a:extLst>
              <a:ext uri="{FF2B5EF4-FFF2-40B4-BE49-F238E27FC236}">
                <a16:creationId xmlns:a16="http://schemas.microsoft.com/office/drawing/2014/main" id="{BDE8F254-B60D-4782-823F-CC065B311C0A}"/>
              </a:ext>
            </a:extLst>
          </p:cNvPr>
          <p:cNvSpPr>
            <a:spLocks noGrp="1"/>
          </p:cNvSpPr>
          <p:nvPr>
            <p:ph type="sldNum" sz="quarter" idx="36"/>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24C8C45C-947F-4981-8B3F-4F32E973C901}" type="slidenum">
              <a:rPr lang="en-GB" smtClean="0"/>
              <a:pPr/>
              <a:t>‹#›</a:t>
            </a:fld>
            <a:endParaRPr lang="en-GB" dirty="0"/>
          </a:p>
        </p:txBody>
      </p:sp>
      <p:sp>
        <p:nvSpPr>
          <p:cNvPr id="17" name="Title 16">
            <a:extLst>
              <a:ext uri="{FF2B5EF4-FFF2-40B4-BE49-F238E27FC236}">
                <a16:creationId xmlns:a16="http://schemas.microsoft.com/office/drawing/2014/main" id="{B6D4C96D-A5C6-462E-A726-3A3CDB7C1BF6}"/>
              </a:ext>
            </a:extLst>
          </p:cNvPr>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GB"/>
              <a:t>Click to edit Master title style</a:t>
            </a:r>
            <a:endParaRPr lang="en-GB" dirty="0"/>
          </a:p>
        </p:txBody>
      </p:sp>
    </p:spTree>
    <p:extLst>
      <p:ext uri="{BB962C8B-B14F-4D97-AF65-F5344CB8AC3E}">
        <p14:creationId xmlns:p14="http://schemas.microsoft.com/office/powerpoint/2010/main" val="1831040761"/>
      </p:ext>
    </p:extLst>
  </p:cSld>
  <p:clrMapOvr>
    <a:masterClrMapping/>
  </p:clrMapOvr>
  <p:extLst>
    <p:ext uri="{DCECCB84-F9BA-43D5-87BE-67443E8EF086}">
      <p15:sldGuideLst xmlns:p15="http://schemas.microsoft.com/office/powerpoint/2012/main">
        <p15:guide id="1" orient="horz" pos="157">
          <p15:clr>
            <a:srgbClr val="FBAE40"/>
          </p15:clr>
        </p15:guide>
        <p15:guide id="2" pos="2721">
          <p15:clr>
            <a:srgbClr val="FBAE40"/>
          </p15:clr>
        </p15:guide>
        <p15:guide id="3" pos="272">
          <p15:clr>
            <a:srgbClr val="FBAE40"/>
          </p15:clr>
        </p15:guide>
        <p15:guide id="4" pos="3039">
          <p15:clr>
            <a:srgbClr val="FBAE40"/>
          </p15:clr>
        </p15:guide>
        <p15:guide id="5" pos="5489">
          <p15:clr>
            <a:srgbClr val="FBAE40"/>
          </p15:clr>
        </p15:guide>
        <p15:guide id="6" orient="horz" pos="522">
          <p15:clr>
            <a:srgbClr val="FBAE40"/>
          </p15:clr>
        </p15:guide>
        <p15:guide id="7" orient="horz" pos="647">
          <p15:clr>
            <a:srgbClr val="FBAE40"/>
          </p15:clr>
        </p15:guide>
        <p15:guide id="8" orient="horz" pos="1556">
          <p15:clr>
            <a:srgbClr val="FBAE40"/>
          </p15:clr>
        </p15:guide>
        <p15:guide id="9" orient="horz" pos="1839">
          <p15:clr>
            <a:srgbClr val="FBAE40"/>
          </p15:clr>
        </p15:guide>
        <p15:guide id="10" orient="horz" pos="275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Headin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D556C6-991D-4FD9-9393-739D0F8A60D2}"/>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DAD556C6-991D-4FD9-9393-739D0F8A60D2}"/>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6CD2737-B5B2-4E56-A269-0F225682A465}"/>
              </a:ext>
            </a:extLst>
          </p:cNvPr>
          <p:cNvSpPr/>
          <p:nvPr userDrawn="1">
            <p:custDataLst>
              <p:tags r:id="rId2"/>
            </p:custDataLst>
          </p:nvPr>
        </p:nvSpPr>
        <p:spPr>
          <a:xfrm>
            <a:off x="0" y="0"/>
            <a:ext cx="211667" cy="21166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5000"/>
              </a:lnSpc>
              <a:spcBef>
                <a:spcPct val="0"/>
              </a:spcBef>
              <a:spcAft>
                <a:spcPct val="0"/>
              </a:spcAft>
            </a:pPr>
            <a:endParaRPr lang="en-GB" sz="1996" b="1" i="0" baseline="0" noProof="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Text Placeholder 14">
            <a:extLst>
              <a:ext uri="{FF2B5EF4-FFF2-40B4-BE49-F238E27FC236}">
                <a16:creationId xmlns:a16="http://schemas.microsoft.com/office/drawing/2014/main" id="{49757780-C244-418D-A0DD-15ED296FE331}"/>
              </a:ext>
            </a:extLst>
          </p:cNvPr>
          <p:cNvSpPr>
            <a:spLocks noGrp="1"/>
          </p:cNvSpPr>
          <p:nvPr>
            <p:ph type="body" sz="quarter" idx="26" hasCustomPrompt="1"/>
          </p:nvPr>
        </p:nvSpPr>
        <p:spPr>
          <a:xfrm>
            <a:off x="997921" y="6081601"/>
            <a:ext cx="5530109" cy="489879"/>
          </a:xfrm>
        </p:spPr>
        <p:txBody>
          <a:bodyPr anchor="b" anchorCtr="0"/>
          <a:lstStyle>
            <a:lvl1pPr>
              <a:lnSpc>
                <a:spcPct val="95000"/>
              </a:lnSpc>
              <a:spcBef>
                <a:spcPts val="0"/>
              </a:spcBef>
              <a:defRPr sz="933" b="0" baseline="0">
                <a:solidFill>
                  <a:schemeClr val="accent6"/>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6" name="Date Placeholder 5">
            <a:extLst>
              <a:ext uri="{FF2B5EF4-FFF2-40B4-BE49-F238E27FC236}">
                <a16:creationId xmlns:a16="http://schemas.microsoft.com/office/drawing/2014/main" id="{0EB9224E-8240-41A4-8463-E8525C11C280}"/>
              </a:ext>
            </a:extLst>
          </p:cNvPr>
          <p:cNvSpPr>
            <a:spLocks noGrp="1"/>
          </p:cNvSpPr>
          <p:nvPr>
            <p:ph type="dt" sz="half" idx="27"/>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8" name="Footer Placeholder 7">
            <a:extLst>
              <a:ext uri="{FF2B5EF4-FFF2-40B4-BE49-F238E27FC236}">
                <a16:creationId xmlns:a16="http://schemas.microsoft.com/office/drawing/2014/main" id="{F68843D8-4A5E-4D36-85EC-8E0B3ADB246A}"/>
              </a:ext>
            </a:extLst>
          </p:cNvPr>
          <p:cNvSpPr>
            <a:spLocks noGrp="1"/>
          </p:cNvSpPr>
          <p:nvPr>
            <p:ph type="ftr" sz="quarter" idx="28"/>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9" name="Slide Number Placeholder 8">
            <a:extLst>
              <a:ext uri="{FF2B5EF4-FFF2-40B4-BE49-F238E27FC236}">
                <a16:creationId xmlns:a16="http://schemas.microsoft.com/office/drawing/2014/main" id="{CE7AC4BD-9E46-441A-8377-B511306FE68D}"/>
              </a:ext>
            </a:extLst>
          </p:cNvPr>
          <p:cNvSpPr>
            <a:spLocks noGrp="1"/>
          </p:cNvSpPr>
          <p:nvPr>
            <p:ph type="sldNum" sz="quarter" idx="29"/>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24C8C45C-947F-4981-8B3F-4F32E973C901}" type="slidenum">
              <a:rPr lang="en-GB" smtClean="0"/>
              <a:pPr/>
              <a:t>‹#›</a:t>
            </a:fld>
            <a:endParaRPr lang="en-GB" dirty="0"/>
          </a:p>
        </p:txBody>
      </p:sp>
      <p:sp>
        <p:nvSpPr>
          <p:cNvPr id="10" name="Title 9">
            <a:extLst>
              <a:ext uri="{FF2B5EF4-FFF2-40B4-BE49-F238E27FC236}">
                <a16:creationId xmlns:a16="http://schemas.microsoft.com/office/drawing/2014/main" id="{4E76D947-08D5-4897-BC99-FA8B3E3B5C0A}"/>
              </a:ext>
            </a:extLst>
          </p:cNvPr>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GB"/>
              <a:t>Click to edit Master title style</a:t>
            </a:r>
            <a:endParaRPr lang="en-GB" dirty="0"/>
          </a:p>
        </p:txBody>
      </p:sp>
    </p:spTree>
    <p:extLst>
      <p:ext uri="{BB962C8B-B14F-4D97-AF65-F5344CB8AC3E}">
        <p14:creationId xmlns:p14="http://schemas.microsoft.com/office/powerpoint/2010/main" val="733269389"/>
      </p:ext>
    </p:extLst>
  </p:cSld>
  <p:clrMapOvr>
    <a:masterClrMapping/>
  </p:clrMapOvr>
  <p:extLst>
    <p:ext uri="{DCECCB84-F9BA-43D5-87BE-67443E8EF086}">
      <p15:sldGuideLst xmlns:p15="http://schemas.microsoft.com/office/powerpoint/2012/main">
        <p15:guide id="1" orient="horz" pos="523">
          <p15:clr>
            <a:srgbClr val="FBAE40"/>
          </p15:clr>
        </p15:guide>
        <p15:guide id="2" pos="272">
          <p15:clr>
            <a:srgbClr val="FBAE40"/>
          </p15:clr>
        </p15:guide>
        <p15:guide id="3" pos="5488">
          <p15:clr>
            <a:srgbClr val="FBAE40"/>
          </p15:clr>
        </p15:guide>
        <p15:guide id="4" orient="horz" pos="157">
          <p15:clr>
            <a:srgbClr val="FBAE40"/>
          </p15:clr>
        </p15:guide>
        <p15:guide id="5" orient="horz" pos="275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A55FFAC-2B80-4C30-87FF-D26CF823E90B}"/>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3A55FFAC-2B80-4C30-87FF-D26CF823E90B}"/>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5" name="Text Placeholder 14">
            <a:extLst>
              <a:ext uri="{FF2B5EF4-FFF2-40B4-BE49-F238E27FC236}">
                <a16:creationId xmlns:a16="http://schemas.microsoft.com/office/drawing/2014/main" id="{E3FB5418-216C-4728-B3CC-740A652F46F0}"/>
              </a:ext>
            </a:extLst>
          </p:cNvPr>
          <p:cNvSpPr>
            <a:spLocks noGrp="1"/>
          </p:cNvSpPr>
          <p:nvPr>
            <p:ph type="body" sz="quarter" idx="26" hasCustomPrompt="1"/>
          </p:nvPr>
        </p:nvSpPr>
        <p:spPr>
          <a:xfrm>
            <a:off x="997921" y="6081601"/>
            <a:ext cx="5530109" cy="489879"/>
          </a:xfrm>
        </p:spPr>
        <p:txBody>
          <a:bodyPr anchor="b" anchorCtr="0"/>
          <a:lstStyle>
            <a:lvl1pPr>
              <a:lnSpc>
                <a:spcPct val="95000"/>
              </a:lnSpc>
              <a:spcBef>
                <a:spcPts val="0"/>
              </a:spcBef>
              <a:defRPr sz="933" b="0" baseline="0">
                <a:solidFill>
                  <a:schemeClr val="accent6"/>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6" name="Date Placeholder 5">
            <a:extLst>
              <a:ext uri="{FF2B5EF4-FFF2-40B4-BE49-F238E27FC236}">
                <a16:creationId xmlns:a16="http://schemas.microsoft.com/office/drawing/2014/main" id="{8167CA36-0CF7-457F-AD35-0DBF8E3E5CE6}"/>
              </a:ext>
            </a:extLst>
          </p:cNvPr>
          <p:cNvSpPr>
            <a:spLocks noGrp="1"/>
          </p:cNvSpPr>
          <p:nvPr>
            <p:ph type="dt" sz="half" idx="27"/>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7" name="Footer Placeholder 6">
            <a:extLst>
              <a:ext uri="{FF2B5EF4-FFF2-40B4-BE49-F238E27FC236}">
                <a16:creationId xmlns:a16="http://schemas.microsoft.com/office/drawing/2014/main" id="{4BDA414A-DE28-4361-92F3-1B3D83E25A91}"/>
              </a:ext>
            </a:extLst>
          </p:cNvPr>
          <p:cNvSpPr>
            <a:spLocks noGrp="1"/>
          </p:cNvSpPr>
          <p:nvPr>
            <p:ph type="ftr" sz="quarter" idx="28"/>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8" name="Slide Number Placeholder 7">
            <a:extLst>
              <a:ext uri="{FF2B5EF4-FFF2-40B4-BE49-F238E27FC236}">
                <a16:creationId xmlns:a16="http://schemas.microsoft.com/office/drawing/2014/main" id="{90414FBA-DB0C-42EF-BD64-F06FD3927723}"/>
              </a:ext>
            </a:extLst>
          </p:cNvPr>
          <p:cNvSpPr>
            <a:spLocks noGrp="1"/>
          </p:cNvSpPr>
          <p:nvPr>
            <p:ph type="sldNum" sz="quarter" idx="29"/>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24C8C45C-947F-4981-8B3F-4F32E973C901}" type="slidenum">
              <a:rPr lang="en-GB" smtClean="0"/>
              <a:pPr/>
              <a:t>‹#›</a:t>
            </a:fld>
            <a:endParaRPr lang="en-GB" dirty="0"/>
          </a:p>
        </p:txBody>
      </p:sp>
    </p:spTree>
    <p:extLst>
      <p:ext uri="{BB962C8B-B14F-4D97-AF65-F5344CB8AC3E}">
        <p14:creationId xmlns:p14="http://schemas.microsoft.com/office/powerpoint/2010/main" val="158956936"/>
      </p:ext>
    </p:extLst>
  </p:cSld>
  <p:clrMapOvr>
    <a:masterClrMapping/>
  </p:clrMapOvr>
  <p:extLst>
    <p:ext uri="{DCECCB84-F9BA-43D5-87BE-67443E8EF086}">
      <p15:sldGuideLst xmlns:p15="http://schemas.microsoft.com/office/powerpoint/2012/main">
        <p15:guide id="1" pos="272">
          <p15:clr>
            <a:srgbClr val="FBAE40"/>
          </p15:clr>
        </p15:guide>
        <p15:guide id="2" pos="5488">
          <p15:clr>
            <a:srgbClr val="FBAE40"/>
          </p15:clr>
        </p15:guide>
        <p15:guide id="3" orient="horz" pos="146">
          <p15:clr>
            <a:srgbClr val="FBAE40"/>
          </p15:clr>
        </p15:guide>
        <p15:guide id="4" orient="horz" pos="531">
          <p15:clr>
            <a:srgbClr val="FBAE40"/>
          </p15:clr>
        </p15:guide>
        <p15:guide id="5" orient="horz" pos="645">
          <p15:clr>
            <a:srgbClr val="FBAE40"/>
          </p15:clr>
        </p15:guide>
        <p15:guide id="6" orient="horz" pos="275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462847" y="1414222"/>
            <a:ext cx="11266309" cy="161411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15D2633F-9E37-4580-B197-799DECA1053C}" type="slidenum">
              <a:rPr lang="en-US" altLang="en-US"/>
              <a:pPr>
                <a:defRPr/>
              </a:pPr>
              <a:t>‹#›</a:t>
            </a:fld>
            <a:endParaRPr lang="en-US" altLang="en-US" dirty="0"/>
          </a:p>
        </p:txBody>
      </p:sp>
      <p:pic>
        <p:nvPicPr>
          <p:cNvPr id="7" name="Picture 6">
            <a:extLst>
              <a:ext uri="{FF2B5EF4-FFF2-40B4-BE49-F238E27FC236}">
                <a16:creationId xmlns:a16="http://schemas.microsoft.com/office/drawing/2014/main" id="{F83ADA77-B896-2D48-9696-76496C616AFA}"/>
              </a:ext>
            </a:extLst>
          </p:cNvPr>
          <p:cNvPicPr>
            <a:picLocks noChangeAspect="1"/>
          </p:cNvPicPr>
          <p:nvPr/>
        </p:nvPicPr>
        <p:blipFill>
          <a:blip r:embed="rId2"/>
          <a:stretch>
            <a:fillRect/>
          </a:stretch>
        </p:blipFill>
        <p:spPr>
          <a:xfrm>
            <a:off x="0" y="5816600"/>
            <a:ext cx="12192000" cy="1041400"/>
          </a:xfrm>
          <a:prstGeom prst="rect">
            <a:avLst/>
          </a:prstGeom>
        </p:spPr>
      </p:pic>
    </p:spTree>
    <p:extLst>
      <p:ext uri="{BB962C8B-B14F-4D97-AF65-F5344CB8AC3E}">
        <p14:creationId xmlns:p14="http://schemas.microsoft.com/office/powerpoint/2010/main" val="12596991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Picture_BG Image">
    <p:spTree>
      <p:nvGrpSpPr>
        <p:cNvPr id="1" name=""/>
        <p:cNvGrpSpPr/>
        <p:nvPr/>
      </p:nvGrpSpPr>
      <p:grpSpPr>
        <a:xfrm>
          <a:off x="0" y="0"/>
          <a:ext cx="0" cy="0"/>
          <a:chOff x="0" y="0"/>
          <a:chExt cx="0" cy="0"/>
        </a:xfrm>
      </p:grpSpPr>
      <p:sp>
        <p:nvSpPr>
          <p:cNvPr id="4" name="Picture Placeholder 20">
            <a:extLst>
              <a:ext uri="{FF2B5EF4-FFF2-40B4-BE49-F238E27FC236}">
                <a16:creationId xmlns:a16="http://schemas.microsoft.com/office/drawing/2014/main" id="{5F127328-5914-8746-9676-46AEF2593FFE}"/>
              </a:ext>
            </a:extLst>
          </p:cNvPr>
          <p:cNvSpPr>
            <a:spLocks noGrp="1"/>
          </p:cNvSpPr>
          <p:nvPr>
            <p:ph type="pic" sz="quarter" idx="10"/>
          </p:nvPr>
        </p:nvSpPr>
        <p:spPr>
          <a:xfrm>
            <a:off x="0" y="0"/>
            <a:ext cx="12192000" cy="6858000"/>
          </a:xfrm>
          <a:prstGeom prst="rect">
            <a:avLst/>
          </a:prstGeom>
        </p:spPr>
        <p:txBody>
          <a:bodyPr/>
          <a:lstStyle/>
          <a:p>
            <a:endParaRPr lang="en-US" dirty="0"/>
          </a:p>
        </p:txBody>
      </p:sp>
      <p:sp>
        <p:nvSpPr>
          <p:cNvPr id="5" name="Title 1">
            <a:extLst>
              <a:ext uri="{FF2B5EF4-FFF2-40B4-BE49-F238E27FC236}">
                <a16:creationId xmlns:a16="http://schemas.microsoft.com/office/drawing/2014/main" id="{D545E6C8-F8C7-574A-9C5C-305FA222624F}"/>
              </a:ext>
            </a:extLst>
          </p:cNvPr>
          <p:cNvSpPr>
            <a:spLocks noGrp="1"/>
          </p:cNvSpPr>
          <p:nvPr>
            <p:ph type="title"/>
          </p:nvPr>
        </p:nvSpPr>
        <p:spPr>
          <a:xfrm>
            <a:off x="527568" y="2688964"/>
            <a:ext cx="4856568" cy="1480071"/>
          </a:xfrm>
          <a:prstGeom prst="rect">
            <a:avLst/>
          </a:prstGeom>
        </p:spPr>
        <p:txBody>
          <a:bodyPr anchor="b"/>
          <a:lstStyle>
            <a:lvl1pPr>
              <a:defRPr sz="4800" b="0" i="0">
                <a:solidFill>
                  <a:schemeClr val="bg1"/>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dirty="0"/>
              <a:t>Click to edit Master title style</a:t>
            </a:r>
            <a:endParaRPr lang="en-US" dirty="0"/>
          </a:p>
        </p:txBody>
      </p:sp>
      <p:pic>
        <p:nvPicPr>
          <p:cNvPr id="6" name="Picture 5">
            <a:extLst>
              <a:ext uri="{FF2B5EF4-FFF2-40B4-BE49-F238E27FC236}">
                <a16:creationId xmlns:a16="http://schemas.microsoft.com/office/drawing/2014/main" id="{6DB78912-ED94-0848-975B-CD0C55ECCFF5}"/>
              </a:ext>
            </a:extLst>
          </p:cNvPr>
          <p:cNvPicPr>
            <a:picLocks noChangeAspect="1"/>
          </p:cNvPicPr>
          <p:nvPr/>
        </p:nvPicPr>
        <p:blipFill>
          <a:blip r:embed="rId2"/>
          <a:stretch>
            <a:fillRect/>
          </a:stretch>
        </p:blipFill>
        <p:spPr>
          <a:xfrm>
            <a:off x="0" y="5816600"/>
            <a:ext cx="12192000" cy="1041400"/>
          </a:xfrm>
          <a:prstGeom prst="rect">
            <a:avLst/>
          </a:prstGeom>
        </p:spPr>
      </p:pic>
    </p:spTree>
    <p:extLst>
      <p:ext uri="{BB962C8B-B14F-4D97-AF65-F5344CB8AC3E}">
        <p14:creationId xmlns:p14="http://schemas.microsoft.com/office/powerpoint/2010/main" val="41539022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Placeholder 4">
            <a:extLst>
              <a:ext uri="{FF2B5EF4-FFF2-40B4-BE49-F238E27FC236}">
                <a16:creationId xmlns:a16="http://schemas.microsoft.com/office/drawing/2014/main" id="{90C2C620-7572-4B4B-9EC2-35F91289E79C}"/>
              </a:ext>
            </a:extLst>
          </p:cNvPr>
          <p:cNvPicPr>
            <a:picLocks noChangeAspect="1"/>
          </p:cNvPicPr>
          <p:nvPr userDrawn="1"/>
        </p:nvPicPr>
        <p:blipFill>
          <a:blip r:embed="rId2"/>
          <a:srcRect/>
          <a:stretch/>
        </p:blipFill>
        <p:spPr>
          <a:xfrm>
            <a:off x="0" y="0"/>
            <a:ext cx="12192000" cy="6858000"/>
          </a:xfrm>
          <a:prstGeom prst="rect">
            <a:avLst/>
          </a:prstGeom>
        </p:spPr>
      </p:pic>
      <p:sp>
        <p:nvSpPr>
          <p:cNvPr id="14" name="Text Placeholder 13">
            <a:extLst>
              <a:ext uri="{FF2B5EF4-FFF2-40B4-BE49-F238E27FC236}">
                <a16:creationId xmlns:a16="http://schemas.microsoft.com/office/drawing/2014/main" id="{609A1C17-C62E-814B-98D4-9359B30674D1}"/>
              </a:ext>
            </a:extLst>
          </p:cNvPr>
          <p:cNvSpPr>
            <a:spLocks noGrp="1"/>
          </p:cNvSpPr>
          <p:nvPr>
            <p:ph type="body" sz="quarter" idx="10"/>
          </p:nvPr>
        </p:nvSpPr>
        <p:spPr>
          <a:xfrm>
            <a:off x="973797" y="2034234"/>
            <a:ext cx="3645338" cy="1655763"/>
          </a:xfrm>
          <a:prstGeom prst="rect">
            <a:avLst/>
          </a:prstGeom>
        </p:spPr>
        <p:txBody>
          <a:bodyPr/>
          <a:lstStyle>
            <a:lvl1pPr marL="0" indent="0">
              <a:buNone/>
              <a:defRPr sz="3600" b="0" i="0">
                <a:solidFill>
                  <a:schemeClr val="bg1"/>
                </a:solidFill>
                <a:latin typeface="Helvetica Neue LT Std 65 Medium" panose="020B0604020202020204" pitchFamily="34" charset="0"/>
              </a:defRPr>
            </a:lvl1pPr>
            <a:lvl2pPr marL="457189" indent="0">
              <a:buNone/>
              <a:defRPr/>
            </a:lvl2pPr>
          </a:lstStyle>
          <a:p>
            <a:pPr lvl="0"/>
            <a:r>
              <a:rPr lang="en-GB"/>
              <a:t>Click to edit Master text styles</a:t>
            </a:r>
          </a:p>
        </p:txBody>
      </p:sp>
      <p:pic>
        <p:nvPicPr>
          <p:cNvPr id="6" name="Picture 5">
            <a:extLst>
              <a:ext uri="{FF2B5EF4-FFF2-40B4-BE49-F238E27FC236}">
                <a16:creationId xmlns:a16="http://schemas.microsoft.com/office/drawing/2014/main" id="{E7AA0B1D-EF40-6A47-9A35-39D47E157AEA}"/>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0" y="6248400"/>
            <a:ext cx="12192000" cy="609600"/>
          </a:xfrm>
          <a:prstGeom prst="rect">
            <a:avLst/>
          </a:prstGeom>
        </p:spPr>
      </p:pic>
    </p:spTree>
    <p:extLst>
      <p:ext uri="{BB962C8B-B14F-4D97-AF65-F5344CB8AC3E}">
        <p14:creationId xmlns:p14="http://schemas.microsoft.com/office/powerpoint/2010/main" val="90458722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TRO">
    <p:spTree>
      <p:nvGrpSpPr>
        <p:cNvPr id="1" name=""/>
        <p:cNvGrpSpPr/>
        <p:nvPr/>
      </p:nvGrpSpPr>
      <p:grpSpPr>
        <a:xfrm>
          <a:off x="0" y="0"/>
          <a:ext cx="0" cy="0"/>
          <a:chOff x="0" y="0"/>
          <a:chExt cx="0" cy="0"/>
        </a:xfrm>
      </p:grpSpPr>
      <p:pic>
        <p:nvPicPr>
          <p:cNvPr id="7" name="Picture 6" descr="A close up of a cable&#10;&#10;Description automatically generated">
            <a:extLst>
              <a:ext uri="{FF2B5EF4-FFF2-40B4-BE49-F238E27FC236}">
                <a16:creationId xmlns:a16="http://schemas.microsoft.com/office/drawing/2014/main" id="{5404E37C-C7FD-044A-9344-97CB07453AF2}"/>
              </a:ext>
            </a:extLst>
          </p:cNvPr>
          <p:cNvPicPr>
            <a:picLocks noChangeAspect="1"/>
          </p:cNvPicPr>
          <p:nvPr userDrawn="1"/>
        </p:nvPicPr>
        <p:blipFill>
          <a:blip r:embed="rId2" cstate="email">
            <a:extLst>
              <a:ext uri="{BEBA8EAE-BF5A-486C-A8C5-ECC9F3942E4B}">
                <a14:imgProps xmlns:a14="http://schemas.microsoft.com/office/drawing/2010/main">
                  <a14:imgLayer r:embed="rId3">
                    <a14:imgEffect>
                      <a14:saturation sat="400000"/>
                    </a14:imgEffect>
                    <a14:imgEffect>
                      <a14:brightnessContrast contrast="20000"/>
                    </a14:imgEffect>
                  </a14:imgLayer>
                </a14:imgProps>
              </a:ex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E11FBAF8-F67E-8C4F-93C7-5212A8CCAF34}"/>
              </a:ext>
            </a:extLst>
          </p:cNvPr>
          <p:cNvSpPr/>
          <p:nvPr userDrawn="1"/>
        </p:nvSpPr>
        <p:spPr>
          <a:xfrm>
            <a:off x="1593130" y="1777993"/>
            <a:ext cx="7286919" cy="33313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1">
            <a:extLst>
              <a:ext uri="{FF2B5EF4-FFF2-40B4-BE49-F238E27FC236}">
                <a16:creationId xmlns:a16="http://schemas.microsoft.com/office/drawing/2014/main" id="{EAF27D59-4236-2040-B62F-72DA9623B435}"/>
              </a:ext>
            </a:extLst>
          </p:cNvPr>
          <p:cNvSpPr txBox="1">
            <a:spLocks/>
          </p:cNvSpPr>
          <p:nvPr userDrawn="1"/>
        </p:nvSpPr>
        <p:spPr>
          <a:xfrm>
            <a:off x="1593130" y="3116599"/>
            <a:ext cx="7286919" cy="1992729"/>
          </a:xfrm>
          <a:prstGeom prst="rect">
            <a:avLst/>
          </a:prstGeom>
        </p:spPr>
        <p:txBody>
          <a:bodyPr anchor="t"/>
          <a:lstStyle>
            <a:lvl1pPr algn="l" defTabSz="914377" rtl="0" eaLnBrk="1" latinLnBrk="0" hangingPunct="1">
              <a:lnSpc>
                <a:spcPct val="90000"/>
              </a:lnSpc>
              <a:spcBef>
                <a:spcPct val="0"/>
              </a:spcBef>
              <a:buNone/>
              <a:defRPr sz="4800" b="0" i="0" kern="1200">
                <a:solidFill>
                  <a:srgbClr val="E8BC28"/>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endParaRPr lang="en-US" sz="3600" dirty="0"/>
          </a:p>
        </p:txBody>
      </p:sp>
      <p:sp>
        <p:nvSpPr>
          <p:cNvPr id="16" name="Text Placeholder 15">
            <a:extLst>
              <a:ext uri="{FF2B5EF4-FFF2-40B4-BE49-F238E27FC236}">
                <a16:creationId xmlns:a16="http://schemas.microsoft.com/office/drawing/2014/main" id="{247F625A-C423-F940-95B5-018982D204D5}"/>
              </a:ext>
            </a:extLst>
          </p:cNvPr>
          <p:cNvSpPr>
            <a:spLocks noGrp="1"/>
          </p:cNvSpPr>
          <p:nvPr>
            <p:ph type="body" sz="quarter" idx="10"/>
          </p:nvPr>
        </p:nvSpPr>
        <p:spPr>
          <a:xfrm>
            <a:off x="1697037" y="3289300"/>
            <a:ext cx="7079317" cy="1677988"/>
          </a:xfrm>
          <a:prstGeom prst="rect">
            <a:avLst/>
          </a:prstGeom>
        </p:spPr>
        <p:txBody>
          <a:bodyPr/>
          <a:lstStyle>
            <a:lvl1pPr marL="0" indent="0">
              <a:buNone/>
              <a:defRPr sz="1600" b="0" i="0">
                <a:solidFill>
                  <a:srgbClr val="FFBF22"/>
                </a:solidFill>
                <a:latin typeface="Helvetica Neue LT Std 45 Light" panose="020B0403020202020204" pitchFamily="34" charset="0"/>
              </a:defRPr>
            </a:lvl1pPr>
            <a:lvl2pPr marL="457189" indent="0">
              <a:buNone/>
              <a:defRPr sz="1800" b="0" i="0">
                <a:solidFill>
                  <a:srgbClr val="E8BC28"/>
                </a:solidFill>
                <a:latin typeface="Helvetica Neue LT Std 45 Light" panose="020B0403020202020204" pitchFamily="34" charset="0"/>
              </a:defRPr>
            </a:lvl2pPr>
            <a:lvl3pPr marL="914377" indent="0">
              <a:buNone/>
              <a:defRPr sz="1600" b="0" i="0">
                <a:solidFill>
                  <a:srgbClr val="E8BC28"/>
                </a:solidFill>
                <a:latin typeface="Helvetica Neue LT Std 45 Light" panose="020B0403020202020204" pitchFamily="34" charset="0"/>
              </a:defRPr>
            </a:lvl3pPr>
            <a:lvl4pPr marL="1371566" indent="0">
              <a:buNone/>
              <a:defRPr sz="1400" b="0" i="0">
                <a:solidFill>
                  <a:srgbClr val="E8BC28"/>
                </a:solidFill>
                <a:latin typeface="Helvetica Neue LT Std 45 Light" panose="020B0403020202020204" pitchFamily="34" charset="0"/>
              </a:defRPr>
            </a:lvl4pPr>
            <a:lvl5pPr marL="1828755" indent="0">
              <a:buNone/>
              <a:defRPr sz="1400" b="0" i="0">
                <a:solidFill>
                  <a:srgbClr val="E8BC28"/>
                </a:solidFill>
                <a:latin typeface="Helvetica Neue LT Std 45 Light" panose="020B0403020202020204" pitchFamily="34" charset="0"/>
              </a:defRPr>
            </a:lvl5pPr>
          </a:lstStyle>
          <a:p>
            <a:pPr lvl="0"/>
            <a:r>
              <a:rPr lang="en-GB"/>
              <a:t>Click to edit Master text styles</a:t>
            </a:r>
          </a:p>
        </p:txBody>
      </p:sp>
      <p:sp>
        <p:nvSpPr>
          <p:cNvPr id="19" name="Text Placeholder 18">
            <a:extLst>
              <a:ext uri="{FF2B5EF4-FFF2-40B4-BE49-F238E27FC236}">
                <a16:creationId xmlns:a16="http://schemas.microsoft.com/office/drawing/2014/main" id="{1DCE5CB2-23E7-944B-A874-B6ADE8A53EF1}"/>
              </a:ext>
            </a:extLst>
          </p:cNvPr>
          <p:cNvSpPr>
            <a:spLocks noGrp="1"/>
          </p:cNvSpPr>
          <p:nvPr>
            <p:ph type="body" sz="quarter" idx="11"/>
          </p:nvPr>
        </p:nvSpPr>
        <p:spPr>
          <a:xfrm>
            <a:off x="1697037" y="1885223"/>
            <a:ext cx="7079318" cy="1227137"/>
          </a:xfrm>
          <a:prstGeom prst="rect">
            <a:avLst/>
          </a:prstGeom>
        </p:spPr>
        <p:txBody>
          <a:bodyPr/>
          <a:lstStyle>
            <a:lvl1pPr marL="0" indent="0">
              <a:buNone/>
              <a:defRPr sz="4800" b="0" i="0">
                <a:solidFill>
                  <a:srgbClr val="FFBF22"/>
                </a:solidFill>
                <a:latin typeface="Helvetica Neue LT Std 65 Medium" panose="020B0604020202020204" pitchFamily="34" charset="0"/>
              </a:defRPr>
            </a:lvl1pPr>
          </a:lstStyle>
          <a:p>
            <a:pPr lvl="0"/>
            <a:r>
              <a:rPr lang="en-GB"/>
              <a:t>Click to edit Master text styles</a:t>
            </a:r>
          </a:p>
        </p:txBody>
      </p:sp>
    </p:spTree>
    <p:extLst>
      <p:ext uri="{BB962C8B-B14F-4D97-AF65-F5344CB8AC3E}">
        <p14:creationId xmlns:p14="http://schemas.microsoft.com/office/powerpoint/2010/main" val="64026154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icture_BG Image">
    <p:spTree>
      <p:nvGrpSpPr>
        <p:cNvPr id="1" name=""/>
        <p:cNvGrpSpPr/>
        <p:nvPr/>
      </p:nvGrpSpPr>
      <p:grpSpPr>
        <a:xfrm>
          <a:off x="0" y="0"/>
          <a:ext cx="0" cy="0"/>
          <a:chOff x="0" y="0"/>
          <a:chExt cx="0" cy="0"/>
        </a:xfrm>
      </p:grpSpPr>
      <p:sp>
        <p:nvSpPr>
          <p:cNvPr id="4" name="Picture Placeholder 20">
            <a:extLst>
              <a:ext uri="{FF2B5EF4-FFF2-40B4-BE49-F238E27FC236}">
                <a16:creationId xmlns:a16="http://schemas.microsoft.com/office/drawing/2014/main" id="{5F127328-5914-8746-9676-46AEF2593FFE}"/>
              </a:ext>
            </a:extLst>
          </p:cNvPr>
          <p:cNvSpPr>
            <a:spLocks noGrp="1"/>
          </p:cNvSpPr>
          <p:nvPr>
            <p:ph type="pic" sz="quarter" idx="10"/>
          </p:nvPr>
        </p:nvSpPr>
        <p:spPr>
          <a:xfrm>
            <a:off x="0" y="0"/>
            <a:ext cx="12192000" cy="6858000"/>
          </a:xfrm>
          <a:prstGeom prst="rect">
            <a:avLst/>
          </a:prstGeom>
        </p:spPr>
        <p:txBody>
          <a:bodyPr/>
          <a:lstStyle/>
          <a:p>
            <a:endParaRPr lang="en-US" dirty="0"/>
          </a:p>
        </p:txBody>
      </p:sp>
      <p:sp>
        <p:nvSpPr>
          <p:cNvPr id="5" name="Title 1">
            <a:extLst>
              <a:ext uri="{FF2B5EF4-FFF2-40B4-BE49-F238E27FC236}">
                <a16:creationId xmlns:a16="http://schemas.microsoft.com/office/drawing/2014/main" id="{D545E6C8-F8C7-574A-9C5C-305FA222624F}"/>
              </a:ext>
            </a:extLst>
          </p:cNvPr>
          <p:cNvSpPr>
            <a:spLocks noGrp="1"/>
          </p:cNvSpPr>
          <p:nvPr>
            <p:ph type="title"/>
          </p:nvPr>
        </p:nvSpPr>
        <p:spPr>
          <a:xfrm>
            <a:off x="527568" y="2688964"/>
            <a:ext cx="4856568" cy="1480071"/>
          </a:xfrm>
          <a:prstGeom prst="rect">
            <a:avLst/>
          </a:prstGeom>
        </p:spPr>
        <p:txBody>
          <a:bodyPr anchor="b"/>
          <a:lstStyle>
            <a:lvl1pPr>
              <a:defRPr sz="4800" b="0" i="0">
                <a:solidFill>
                  <a:schemeClr val="bg1"/>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Tree>
    <p:extLst>
      <p:ext uri="{BB962C8B-B14F-4D97-AF65-F5344CB8AC3E}">
        <p14:creationId xmlns:p14="http://schemas.microsoft.com/office/powerpoint/2010/main" val="5802387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 Space">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C521267E-3022-A74A-971C-6C1E2121DF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8E21D48B-0AA6-6545-8696-0290965D519C}"/>
              </a:ext>
            </a:extLst>
          </p:cNvPr>
          <p:cNvSpPr>
            <a:spLocks noGrp="1"/>
          </p:cNvSpPr>
          <p:nvPr>
            <p:ph type="title"/>
          </p:nvPr>
        </p:nvSpPr>
        <p:spPr>
          <a:xfrm>
            <a:off x="517629" y="1623373"/>
            <a:ext cx="3139971" cy="2166730"/>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12" name="Text Placeholder 11">
            <a:extLst>
              <a:ext uri="{FF2B5EF4-FFF2-40B4-BE49-F238E27FC236}">
                <a16:creationId xmlns:a16="http://schemas.microsoft.com/office/drawing/2014/main" id="{84AD00B6-DB3F-A94F-80AB-5497BFEDCD39}"/>
              </a:ext>
            </a:extLst>
          </p:cNvPr>
          <p:cNvSpPr>
            <a:spLocks noGrp="1"/>
          </p:cNvSpPr>
          <p:nvPr>
            <p:ph type="body" sz="quarter" idx="10" hasCustomPrompt="1"/>
          </p:nvPr>
        </p:nvSpPr>
        <p:spPr>
          <a:xfrm>
            <a:off x="3657600" y="1623373"/>
            <a:ext cx="3148908" cy="2932112"/>
          </a:xfrm>
          <a:prstGeom prst="rect">
            <a:avLst/>
          </a:prstGeom>
          <a:ln>
            <a:noFill/>
          </a:ln>
        </p:spPr>
        <p:txBody>
          <a:bodyPr/>
          <a:lstStyle>
            <a:lvl1pPr marL="0" indent="0">
              <a:buNone/>
              <a:defRPr sz="14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chemeClr val="tx1">
                    <a:lumMod val="65000"/>
                    <a:lumOff val="35000"/>
                  </a:schemeClr>
                </a:solidFill>
                <a:latin typeface="Helvetica Neue LT Std 45 Light" panose="020B0403020202020204" pitchFamily="34" charset="0"/>
              </a:defRPr>
            </a:lvl2pPr>
            <a:lvl3pPr marL="914377" indent="0">
              <a:buFont typeface="Arial" panose="020B0604020202020204" pitchFamily="34" charset="0"/>
              <a:buNone/>
              <a:defRPr sz="1400" b="0" i="0">
                <a:solidFill>
                  <a:schemeClr val="tx1">
                    <a:lumMod val="65000"/>
                    <a:lumOff val="35000"/>
                  </a:schemeClr>
                </a:solidFill>
                <a:latin typeface="Helvetica Neue LT Std 45 Light" panose="020B0403020202020204" pitchFamily="34" charset="0"/>
              </a:defRPr>
            </a:lvl3pPr>
            <a:lvl4pPr marL="1371566" indent="0">
              <a:buFont typeface="Arial" panose="020B0604020202020204" pitchFamily="34" charset="0"/>
              <a:buNone/>
              <a:defRPr sz="1400" b="0" i="0">
                <a:solidFill>
                  <a:schemeClr val="tx1">
                    <a:lumMod val="65000"/>
                    <a:lumOff val="35000"/>
                  </a:schemeClr>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r>
              <a:rPr lang="en-GB"/>
              <a:t>Second level</a:t>
            </a:r>
          </a:p>
          <a:p>
            <a:pPr lvl="1"/>
            <a:r>
              <a:rPr lang="en-GB"/>
              <a:t>Third level</a:t>
            </a:r>
          </a:p>
          <a:p>
            <a:pPr lvl="2"/>
            <a:r>
              <a:rPr lang="en-GB"/>
              <a:t>Fourth level</a:t>
            </a:r>
          </a:p>
          <a:p>
            <a:pPr lvl="3"/>
            <a:r>
              <a:rPr lang="en-GB"/>
              <a:t>Fifth level</a:t>
            </a:r>
            <a:endParaRPr lang="en-US"/>
          </a:p>
        </p:txBody>
      </p:sp>
      <p:pic>
        <p:nvPicPr>
          <p:cNvPr id="5" name="Picture 4">
            <a:extLst>
              <a:ext uri="{FF2B5EF4-FFF2-40B4-BE49-F238E27FC236}">
                <a16:creationId xmlns:a16="http://schemas.microsoft.com/office/drawing/2014/main" id="{D692D929-61E5-2249-9856-646EEDD981CC}"/>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0" y="6248400"/>
            <a:ext cx="12192000" cy="609600"/>
          </a:xfrm>
          <a:prstGeom prst="rect">
            <a:avLst/>
          </a:prstGeom>
        </p:spPr>
      </p:pic>
    </p:spTree>
    <p:extLst>
      <p:ext uri="{BB962C8B-B14F-4D97-AF65-F5344CB8AC3E}">
        <p14:creationId xmlns:p14="http://schemas.microsoft.com/office/powerpoint/2010/main" val="14581942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28699B13-3C3C-E843-9056-43C49BFD6686}"/>
              </a:ext>
            </a:extLst>
          </p:cNvPr>
          <p:cNvSpPr>
            <a:spLocks noGrp="1"/>
          </p:cNvSpPr>
          <p:nvPr>
            <p:ph type="title"/>
          </p:nvPr>
        </p:nvSpPr>
        <p:spPr>
          <a:xfrm>
            <a:off x="517629" y="487300"/>
            <a:ext cx="4735091" cy="1369209"/>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pic>
        <p:nvPicPr>
          <p:cNvPr id="17" name="Picture 16" descr="A picture containing indoor, shelf, sitting, book&#10;&#10;Description automatically generated">
            <a:extLst>
              <a:ext uri="{FF2B5EF4-FFF2-40B4-BE49-F238E27FC236}">
                <a16:creationId xmlns:a16="http://schemas.microsoft.com/office/drawing/2014/main" id="{A6DFB6EE-17A2-A541-BF74-02235A207D0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3429000"/>
            <a:ext cx="12192000" cy="2306782"/>
          </a:xfrm>
          <a:prstGeom prst="rect">
            <a:avLst/>
          </a:prstGeom>
        </p:spPr>
      </p:pic>
      <p:pic>
        <p:nvPicPr>
          <p:cNvPr id="6" name="Picture 5">
            <a:extLst>
              <a:ext uri="{FF2B5EF4-FFF2-40B4-BE49-F238E27FC236}">
                <a16:creationId xmlns:a16="http://schemas.microsoft.com/office/drawing/2014/main" id="{70EDFE59-AE3F-D944-82B6-B50946DF4B2A}"/>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0" y="6248400"/>
            <a:ext cx="12192000" cy="609600"/>
          </a:xfrm>
          <a:prstGeom prst="rect">
            <a:avLst/>
          </a:prstGeom>
        </p:spPr>
      </p:pic>
    </p:spTree>
    <p:extLst>
      <p:ext uri="{BB962C8B-B14F-4D97-AF65-F5344CB8AC3E}">
        <p14:creationId xmlns:p14="http://schemas.microsoft.com/office/powerpoint/2010/main" val="104348399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Employees">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C9885BEA-7C33-EC4C-9B83-76A1B77EB0FB}"/>
              </a:ext>
            </a:extLst>
          </p:cNvPr>
          <p:cNvSpPr>
            <a:spLocks noGrp="1"/>
          </p:cNvSpPr>
          <p:nvPr>
            <p:ph type="title"/>
          </p:nvPr>
        </p:nvSpPr>
        <p:spPr>
          <a:xfrm>
            <a:off x="517629" y="487300"/>
            <a:ext cx="4629406" cy="1369209"/>
          </a:xfrm>
          <a:prstGeom prst="rect">
            <a:avLst/>
          </a:prstGeom>
        </p:spPr>
        <p:txBody>
          <a:bodyPr lIns="0"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11" name="Text Placeholder 10">
            <a:extLst>
              <a:ext uri="{FF2B5EF4-FFF2-40B4-BE49-F238E27FC236}">
                <a16:creationId xmlns:a16="http://schemas.microsoft.com/office/drawing/2014/main" id="{8D9B2882-406D-0A4D-BF70-0A3D2EB58AEE}"/>
              </a:ext>
            </a:extLst>
          </p:cNvPr>
          <p:cNvSpPr>
            <a:spLocks noGrp="1"/>
          </p:cNvSpPr>
          <p:nvPr>
            <p:ph type="body" sz="quarter" idx="11" hasCustomPrompt="1"/>
          </p:nvPr>
        </p:nvSpPr>
        <p:spPr>
          <a:xfrm>
            <a:off x="8469127" y="1238522"/>
            <a:ext cx="2036041" cy="258700"/>
          </a:xfrm>
          <a:prstGeom prst="rect">
            <a:avLst/>
          </a:prstGeom>
        </p:spPr>
        <p:txBody>
          <a:bodyPr lIns="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a:t>Name Surname</a:t>
            </a:r>
          </a:p>
        </p:txBody>
      </p:sp>
      <p:sp>
        <p:nvSpPr>
          <p:cNvPr id="13" name="Text Placeholder 12">
            <a:extLst>
              <a:ext uri="{FF2B5EF4-FFF2-40B4-BE49-F238E27FC236}">
                <a16:creationId xmlns:a16="http://schemas.microsoft.com/office/drawing/2014/main" id="{98B15EC4-7827-AD44-9BF2-5FF8608DDB43}"/>
              </a:ext>
            </a:extLst>
          </p:cNvPr>
          <p:cNvSpPr>
            <a:spLocks noGrp="1"/>
          </p:cNvSpPr>
          <p:nvPr>
            <p:ph type="body" sz="quarter" idx="12" hasCustomPrompt="1"/>
          </p:nvPr>
        </p:nvSpPr>
        <p:spPr>
          <a:xfrm>
            <a:off x="8469127" y="1411982"/>
            <a:ext cx="2036763" cy="258700"/>
          </a:xfrm>
          <a:prstGeom prst="rect">
            <a:avLst/>
          </a:prstGeom>
        </p:spPr>
        <p:txBody>
          <a:bodyPr lIns="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a:t>Job title</a:t>
            </a:r>
            <a:endParaRPr lang="en-US"/>
          </a:p>
        </p:txBody>
      </p:sp>
      <p:sp>
        <p:nvSpPr>
          <p:cNvPr id="14" name="Text Placeholder 10">
            <a:extLst>
              <a:ext uri="{FF2B5EF4-FFF2-40B4-BE49-F238E27FC236}">
                <a16:creationId xmlns:a16="http://schemas.microsoft.com/office/drawing/2014/main" id="{25FD1F12-AD2C-7341-8AFB-CDB935BA9898}"/>
              </a:ext>
            </a:extLst>
          </p:cNvPr>
          <p:cNvSpPr>
            <a:spLocks noGrp="1"/>
          </p:cNvSpPr>
          <p:nvPr>
            <p:ph type="body" sz="quarter" idx="13" hasCustomPrompt="1"/>
          </p:nvPr>
        </p:nvSpPr>
        <p:spPr>
          <a:xfrm>
            <a:off x="7922724" y="3185414"/>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a:t>Name Surname</a:t>
            </a:r>
          </a:p>
        </p:txBody>
      </p:sp>
      <p:sp>
        <p:nvSpPr>
          <p:cNvPr id="15" name="Text Placeholder 12">
            <a:extLst>
              <a:ext uri="{FF2B5EF4-FFF2-40B4-BE49-F238E27FC236}">
                <a16:creationId xmlns:a16="http://schemas.microsoft.com/office/drawing/2014/main" id="{DEAA0E9D-C17D-9848-AED5-206761E20B8A}"/>
              </a:ext>
            </a:extLst>
          </p:cNvPr>
          <p:cNvSpPr>
            <a:spLocks noGrp="1"/>
          </p:cNvSpPr>
          <p:nvPr>
            <p:ph type="body" sz="quarter" idx="14" hasCustomPrompt="1"/>
          </p:nvPr>
        </p:nvSpPr>
        <p:spPr>
          <a:xfrm>
            <a:off x="7922633" y="3358874"/>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a:t>Job title</a:t>
            </a:r>
            <a:endParaRPr lang="en-US"/>
          </a:p>
        </p:txBody>
      </p:sp>
      <p:sp>
        <p:nvSpPr>
          <p:cNvPr id="16" name="Text Placeholder 10">
            <a:extLst>
              <a:ext uri="{FF2B5EF4-FFF2-40B4-BE49-F238E27FC236}">
                <a16:creationId xmlns:a16="http://schemas.microsoft.com/office/drawing/2014/main" id="{026F6D38-3BF3-A84D-85B0-AF87285D1F22}"/>
              </a:ext>
            </a:extLst>
          </p:cNvPr>
          <p:cNvSpPr>
            <a:spLocks noGrp="1"/>
          </p:cNvSpPr>
          <p:nvPr>
            <p:ph type="body" sz="quarter" idx="15" hasCustomPrompt="1"/>
          </p:nvPr>
        </p:nvSpPr>
        <p:spPr>
          <a:xfrm>
            <a:off x="6087954" y="3185414"/>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a:t>Name Surname</a:t>
            </a:r>
          </a:p>
        </p:txBody>
      </p:sp>
      <p:sp>
        <p:nvSpPr>
          <p:cNvPr id="17" name="Text Placeholder 12">
            <a:extLst>
              <a:ext uri="{FF2B5EF4-FFF2-40B4-BE49-F238E27FC236}">
                <a16:creationId xmlns:a16="http://schemas.microsoft.com/office/drawing/2014/main" id="{DD7A5CEC-EC14-9F40-AF5A-DE0DD70F29B7}"/>
              </a:ext>
            </a:extLst>
          </p:cNvPr>
          <p:cNvSpPr>
            <a:spLocks noGrp="1"/>
          </p:cNvSpPr>
          <p:nvPr>
            <p:ph type="body" sz="quarter" idx="16" hasCustomPrompt="1"/>
          </p:nvPr>
        </p:nvSpPr>
        <p:spPr>
          <a:xfrm>
            <a:off x="6087863" y="3358874"/>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a:t>Job title</a:t>
            </a:r>
            <a:endParaRPr lang="en-US"/>
          </a:p>
        </p:txBody>
      </p:sp>
      <p:sp>
        <p:nvSpPr>
          <p:cNvPr id="18" name="Text Placeholder 10">
            <a:extLst>
              <a:ext uri="{FF2B5EF4-FFF2-40B4-BE49-F238E27FC236}">
                <a16:creationId xmlns:a16="http://schemas.microsoft.com/office/drawing/2014/main" id="{8C37767A-9381-684B-AFF3-4BC41ACA71ED}"/>
              </a:ext>
            </a:extLst>
          </p:cNvPr>
          <p:cNvSpPr>
            <a:spLocks noGrp="1"/>
          </p:cNvSpPr>
          <p:nvPr>
            <p:ph type="body" sz="quarter" idx="17" hasCustomPrompt="1"/>
          </p:nvPr>
        </p:nvSpPr>
        <p:spPr>
          <a:xfrm>
            <a:off x="4191055" y="3185414"/>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a:t>Name Surname</a:t>
            </a:r>
          </a:p>
        </p:txBody>
      </p:sp>
      <p:sp>
        <p:nvSpPr>
          <p:cNvPr id="19" name="Text Placeholder 12">
            <a:extLst>
              <a:ext uri="{FF2B5EF4-FFF2-40B4-BE49-F238E27FC236}">
                <a16:creationId xmlns:a16="http://schemas.microsoft.com/office/drawing/2014/main" id="{30568923-57EA-3244-993A-D090E73CAC81}"/>
              </a:ext>
            </a:extLst>
          </p:cNvPr>
          <p:cNvSpPr>
            <a:spLocks noGrp="1"/>
          </p:cNvSpPr>
          <p:nvPr>
            <p:ph type="body" sz="quarter" idx="18" hasCustomPrompt="1"/>
          </p:nvPr>
        </p:nvSpPr>
        <p:spPr>
          <a:xfrm>
            <a:off x="4190964" y="3358874"/>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a:t>Job title</a:t>
            </a:r>
            <a:endParaRPr lang="en-US"/>
          </a:p>
        </p:txBody>
      </p:sp>
      <p:sp>
        <p:nvSpPr>
          <p:cNvPr id="20" name="Text Placeholder 10">
            <a:extLst>
              <a:ext uri="{FF2B5EF4-FFF2-40B4-BE49-F238E27FC236}">
                <a16:creationId xmlns:a16="http://schemas.microsoft.com/office/drawing/2014/main" id="{52684357-8BAC-7C47-887A-37917745E901}"/>
              </a:ext>
            </a:extLst>
          </p:cNvPr>
          <p:cNvSpPr>
            <a:spLocks noGrp="1"/>
          </p:cNvSpPr>
          <p:nvPr>
            <p:ph type="body" sz="quarter" idx="19" hasCustomPrompt="1"/>
          </p:nvPr>
        </p:nvSpPr>
        <p:spPr>
          <a:xfrm>
            <a:off x="2361375" y="3185414"/>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a:t>Name Surname</a:t>
            </a:r>
          </a:p>
        </p:txBody>
      </p:sp>
      <p:sp>
        <p:nvSpPr>
          <p:cNvPr id="21" name="Text Placeholder 12">
            <a:extLst>
              <a:ext uri="{FF2B5EF4-FFF2-40B4-BE49-F238E27FC236}">
                <a16:creationId xmlns:a16="http://schemas.microsoft.com/office/drawing/2014/main" id="{FE757602-E883-0C46-83AF-8B1CEC8D9CED}"/>
              </a:ext>
            </a:extLst>
          </p:cNvPr>
          <p:cNvSpPr>
            <a:spLocks noGrp="1"/>
          </p:cNvSpPr>
          <p:nvPr>
            <p:ph type="body" sz="quarter" idx="20" hasCustomPrompt="1"/>
          </p:nvPr>
        </p:nvSpPr>
        <p:spPr>
          <a:xfrm>
            <a:off x="2361284" y="3358874"/>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a:t>Job title</a:t>
            </a:r>
            <a:endParaRPr lang="en-US"/>
          </a:p>
        </p:txBody>
      </p:sp>
      <p:sp>
        <p:nvSpPr>
          <p:cNvPr id="22" name="Text Placeholder 10">
            <a:extLst>
              <a:ext uri="{FF2B5EF4-FFF2-40B4-BE49-F238E27FC236}">
                <a16:creationId xmlns:a16="http://schemas.microsoft.com/office/drawing/2014/main" id="{E80E63D6-51AF-9342-84DD-2F397CF5E026}"/>
              </a:ext>
            </a:extLst>
          </p:cNvPr>
          <p:cNvSpPr>
            <a:spLocks noGrp="1"/>
          </p:cNvSpPr>
          <p:nvPr>
            <p:ph type="body" sz="quarter" idx="21" hasCustomPrompt="1"/>
          </p:nvPr>
        </p:nvSpPr>
        <p:spPr>
          <a:xfrm>
            <a:off x="517720" y="3185414"/>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a:t>Name Surname</a:t>
            </a:r>
          </a:p>
        </p:txBody>
      </p:sp>
      <p:sp>
        <p:nvSpPr>
          <p:cNvPr id="23" name="Text Placeholder 12">
            <a:extLst>
              <a:ext uri="{FF2B5EF4-FFF2-40B4-BE49-F238E27FC236}">
                <a16:creationId xmlns:a16="http://schemas.microsoft.com/office/drawing/2014/main" id="{800E494D-C690-A141-A71E-A48CBF0A61D1}"/>
              </a:ext>
            </a:extLst>
          </p:cNvPr>
          <p:cNvSpPr>
            <a:spLocks noGrp="1"/>
          </p:cNvSpPr>
          <p:nvPr>
            <p:ph type="body" sz="quarter" idx="22" hasCustomPrompt="1"/>
          </p:nvPr>
        </p:nvSpPr>
        <p:spPr>
          <a:xfrm>
            <a:off x="517629" y="3358874"/>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a:t>Job title</a:t>
            </a:r>
            <a:endParaRPr lang="en-US"/>
          </a:p>
        </p:txBody>
      </p:sp>
      <p:sp>
        <p:nvSpPr>
          <p:cNvPr id="24" name="Text Placeholder 10">
            <a:extLst>
              <a:ext uri="{FF2B5EF4-FFF2-40B4-BE49-F238E27FC236}">
                <a16:creationId xmlns:a16="http://schemas.microsoft.com/office/drawing/2014/main" id="{A23863FE-952A-244D-90F7-688D9A0DDD22}"/>
              </a:ext>
            </a:extLst>
          </p:cNvPr>
          <p:cNvSpPr>
            <a:spLocks noGrp="1"/>
          </p:cNvSpPr>
          <p:nvPr>
            <p:ph type="body" sz="quarter" idx="23" hasCustomPrompt="1"/>
          </p:nvPr>
        </p:nvSpPr>
        <p:spPr>
          <a:xfrm>
            <a:off x="7922724" y="5115866"/>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a:t>Name Surname</a:t>
            </a:r>
          </a:p>
        </p:txBody>
      </p:sp>
      <p:sp>
        <p:nvSpPr>
          <p:cNvPr id="25" name="Text Placeholder 12">
            <a:extLst>
              <a:ext uri="{FF2B5EF4-FFF2-40B4-BE49-F238E27FC236}">
                <a16:creationId xmlns:a16="http://schemas.microsoft.com/office/drawing/2014/main" id="{A60A29BA-89A0-BA4C-A5D2-BF6E7D66D826}"/>
              </a:ext>
            </a:extLst>
          </p:cNvPr>
          <p:cNvSpPr>
            <a:spLocks noGrp="1"/>
          </p:cNvSpPr>
          <p:nvPr>
            <p:ph type="body" sz="quarter" idx="24" hasCustomPrompt="1"/>
          </p:nvPr>
        </p:nvSpPr>
        <p:spPr>
          <a:xfrm>
            <a:off x="7922633" y="5289326"/>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a:t>Job title</a:t>
            </a:r>
            <a:endParaRPr lang="en-US"/>
          </a:p>
        </p:txBody>
      </p:sp>
      <p:sp>
        <p:nvSpPr>
          <p:cNvPr id="26" name="Text Placeholder 10">
            <a:extLst>
              <a:ext uri="{FF2B5EF4-FFF2-40B4-BE49-F238E27FC236}">
                <a16:creationId xmlns:a16="http://schemas.microsoft.com/office/drawing/2014/main" id="{89898E1A-7B68-F04E-8DF9-7DF4AC3F2022}"/>
              </a:ext>
            </a:extLst>
          </p:cNvPr>
          <p:cNvSpPr>
            <a:spLocks noGrp="1"/>
          </p:cNvSpPr>
          <p:nvPr>
            <p:ph type="body" sz="quarter" idx="25" hasCustomPrompt="1"/>
          </p:nvPr>
        </p:nvSpPr>
        <p:spPr>
          <a:xfrm>
            <a:off x="6087954" y="5115866"/>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a:t>Name Surname</a:t>
            </a:r>
          </a:p>
        </p:txBody>
      </p:sp>
      <p:sp>
        <p:nvSpPr>
          <p:cNvPr id="27" name="Text Placeholder 12">
            <a:extLst>
              <a:ext uri="{FF2B5EF4-FFF2-40B4-BE49-F238E27FC236}">
                <a16:creationId xmlns:a16="http://schemas.microsoft.com/office/drawing/2014/main" id="{FE65C65B-35EF-AF42-937E-CB58BD9F5DC3}"/>
              </a:ext>
            </a:extLst>
          </p:cNvPr>
          <p:cNvSpPr>
            <a:spLocks noGrp="1"/>
          </p:cNvSpPr>
          <p:nvPr>
            <p:ph type="body" sz="quarter" idx="26" hasCustomPrompt="1"/>
          </p:nvPr>
        </p:nvSpPr>
        <p:spPr>
          <a:xfrm>
            <a:off x="6087863" y="5289326"/>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a:t>Job title</a:t>
            </a:r>
            <a:endParaRPr lang="en-US"/>
          </a:p>
        </p:txBody>
      </p:sp>
      <p:sp>
        <p:nvSpPr>
          <p:cNvPr id="28" name="Text Placeholder 10">
            <a:extLst>
              <a:ext uri="{FF2B5EF4-FFF2-40B4-BE49-F238E27FC236}">
                <a16:creationId xmlns:a16="http://schemas.microsoft.com/office/drawing/2014/main" id="{E8818411-28B7-E348-8FC0-16EA9B5CD6E8}"/>
              </a:ext>
            </a:extLst>
          </p:cNvPr>
          <p:cNvSpPr>
            <a:spLocks noGrp="1"/>
          </p:cNvSpPr>
          <p:nvPr>
            <p:ph type="body" sz="quarter" idx="27" hasCustomPrompt="1"/>
          </p:nvPr>
        </p:nvSpPr>
        <p:spPr>
          <a:xfrm>
            <a:off x="4191055" y="5115866"/>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a:t>Name Surname</a:t>
            </a:r>
          </a:p>
        </p:txBody>
      </p:sp>
      <p:sp>
        <p:nvSpPr>
          <p:cNvPr id="29" name="Text Placeholder 12">
            <a:extLst>
              <a:ext uri="{FF2B5EF4-FFF2-40B4-BE49-F238E27FC236}">
                <a16:creationId xmlns:a16="http://schemas.microsoft.com/office/drawing/2014/main" id="{1D298B64-DB9D-7D4F-85F5-13A6775E23B2}"/>
              </a:ext>
            </a:extLst>
          </p:cNvPr>
          <p:cNvSpPr>
            <a:spLocks noGrp="1"/>
          </p:cNvSpPr>
          <p:nvPr>
            <p:ph type="body" sz="quarter" idx="28" hasCustomPrompt="1"/>
          </p:nvPr>
        </p:nvSpPr>
        <p:spPr>
          <a:xfrm>
            <a:off x="4190964" y="5289326"/>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a:t>Job title</a:t>
            </a:r>
            <a:endParaRPr lang="en-US"/>
          </a:p>
        </p:txBody>
      </p:sp>
      <p:sp>
        <p:nvSpPr>
          <p:cNvPr id="30" name="Text Placeholder 10">
            <a:extLst>
              <a:ext uri="{FF2B5EF4-FFF2-40B4-BE49-F238E27FC236}">
                <a16:creationId xmlns:a16="http://schemas.microsoft.com/office/drawing/2014/main" id="{CA7EE175-F504-A241-BB9E-4B63D9421241}"/>
              </a:ext>
            </a:extLst>
          </p:cNvPr>
          <p:cNvSpPr>
            <a:spLocks noGrp="1"/>
          </p:cNvSpPr>
          <p:nvPr>
            <p:ph type="body" sz="quarter" idx="29" hasCustomPrompt="1"/>
          </p:nvPr>
        </p:nvSpPr>
        <p:spPr>
          <a:xfrm>
            <a:off x="2361375" y="5115866"/>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a:t>Name Surname</a:t>
            </a:r>
          </a:p>
        </p:txBody>
      </p:sp>
      <p:sp>
        <p:nvSpPr>
          <p:cNvPr id="31" name="Text Placeholder 12">
            <a:extLst>
              <a:ext uri="{FF2B5EF4-FFF2-40B4-BE49-F238E27FC236}">
                <a16:creationId xmlns:a16="http://schemas.microsoft.com/office/drawing/2014/main" id="{33A5E4BB-C47B-5146-8E48-1E9A4ED09F28}"/>
              </a:ext>
            </a:extLst>
          </p:cNvPr>
          <p:cNvSpPr>
            <a:spLocks noGrp="1"/>
          </p:cNvSpPr>
          <p:nvPr>
            <p:ph type="body" sz="quarter" idx="30" hasCustomPrompt="1"/>
          </p:nvPr>
        </p:nvSpPr>
        <p:spPr>
          <a:xfrm>
            <a:off x="2361284" y="5289326"/>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a:t>Job title</a:t>
            </a:r>
            <a:endParaRPr lang="en-US"/>
          </a:p>
        </p:txBody>
      </p:sp>
      <p:sp>
        <p:nvSpPr>
          <p:cNvPr id="32" name="Text Placeholder 10">
            <a:extLst>
              <a:ext uri="{FF2B5EF4-FFF2-40B4-BE49-F238E27FC236}">
                <a16:creationId xmlns:a16="http://schemas.microsoft.com/office/drawing/2014/main" id="{CDFCD2CC-774B-7C45-B5EF-4845C476F627}"/>
              </a:ext>
            </a:extLst>
          </p:cNvPr>
          <p:cNvSpPr>
            <a:spLocks noGrp="1"/>
          </p:cNvSpPr>
          <p:nvPr>
            <p:ph type="body" sz="quarter" idx="31" hasCustomPrompt="1"/>
          </p:nvPr>
        </p:nvSpPr>
        <p:spPr>
          <a:xfrm>
            <a:off x="517720" y="5115866"/>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a:t>Name Surname</a:t>
            </a:r>
          </a:p>
        </p:txBody>
      </p:sp>
      <p:sp>
        <p:nvSpPr>
          <p:cNvPr id="33" name="Text Placeholder 12">
            <a:extLst>
              <a:ext uri="{FF2B5EF4-FFF2-40B4-BE49-F238E27FC236}">
                <a16:creationId xmlns:a16="http://schemas.microsoft.com/office/drawing/2014/main" id="{54099D0C-11DE-564E-87CD-3D7CA122E369}"/>
              </a:ext>
            </a:extLst>
          </p:cNvPr>
          <p:cNvSpPr>
            <a:spLocks noGrp="1"/>
          </p:cNvSpPr>
          <p:nvPr>
            <p:ph type="body" sz="quarter" idx="32" hasCustomPrompt="1"/>
          </p:nvPr>
        </p:nvSpPr>
        <p:spPr>
          <a:xfrm>
            <a:off x="517629" y="5289326"/>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a:t>Job title</a:t>
            </a:r>
            <a:endParaRPr lang="en-US"/>
          </a:p>
        </p:txBody>
      </p:sp>
      <p:sp>
        <p:nvSpPr>
          <p:cNvPr id="3" name="Picture Placeholder 2">
            <a:extLst>
              <a:ext uri="{FF2B5EF4-FFF2-40B4-BE49-F238E27FC236}">
                <a16:creationId xmlns:a16="http://schemas.microsoft.com/office/drawing/2014/main" id="{98E5176D-C25B-0B4F-9953-18721D7311C3}"/>
              </a:ext>
            </a:extLst>
          </p:cNvPr>
          <p:cNvSpPr>
            <a:spLocks noGrp="1"/>
          </p:cNvSpPr>
          <p:nvPr>
            <p:ph type="pic" sz="quarter" idx="33"/>
          </p:nvPr>
        </p:nvSpPr>
        <p:spPr>
          <a:xfrm>
            <a:off x="518540" y="2012178"/>
            <a:ext cx="1643869" cy="1058862"/>
          </a:xfrm>
          <a:prstGeom prst="rect">
            <a:avLst/>
          </a:prstGeom>
          <a:noFill/>
        </p:spPr>
        <p:txBody>
          <a:bodyPr/>
          <a:lstStyle/>
          <a:p>
            <a:endParaRPr lang="en-US" dirty="0"/>
          </a:p>
        </p:txBody>
      </p:sp>
      <p:sp>
        <p:nvSpPr>
          <p:cNvPr id="34" name="Picture Placeholder 2">
            <a:extLst>
              <a:ext uri="{FF2B5EF4-FFF2-40B4-BE49-F238E27FC236}">
                <a16:creationId xmlns:a16="http://schemas.microsoft.com/office/drawing/2014/main" id="{3034D6EA-24FA-B44E-B175-A69466B69136}"/>
              </a:ext>
            </a:extLst>
          </p:cNvPr>
          <p:cNvSpPr>
            <a:spLocks noGrp="1"/>
          </p:cNvSpPr>
          <p:nvPr>
            <p:ph type="pic" sz="quarter" idx="34"/>
          </p:nvPr>
        </p:nvSpPr>
        <p:spPr>
          <a:xfrm>
            <a:off x="2361401" y="2012178"/>
            <a:ext cx="1643869" cy="1058862"/>
          </a:xfrm>
          <a:prstGeom prst="rect">
            <a:avLst/>
          </a:prstGeom>
        </p:spPr>
        <p:txBody>
          <a:bodyPr/>
          <a:lstStyle/>
          <a:p>
            <a:endParaRPr lang="en-US" dirty="0"/>
          </a:p>
        </p:txBody>
      </p:sp>
      <p:sp>
        <p:nvSpPr>
          <p:cNvPr id="35" name="Picture Placeholder 2">
            <a:extLst>
              <a:ext uri="{FF2B5EF4-FFF2-40B4-BE49-F238E27FC236}">
                <a16:creationId xmlns:a16="http://schemas.microsoft.com/office/drawing/2014/main" id="{F6C71354-D9C6-0944-A6F7-99F3174B5B91}"/>
              </a:ext>
            </a:extLst>
          </p:cNvPr>
          <p:cNvSpPr>
            <a:spLocks noGrp="1"/>
          </p:cNvSpPr>
          <p:nvPr>
            <p:ph type="pic" sz="quarter" idx="35"/>
          </p:nvPr>
        </p:nvSpPr>
        <p:spPr>
          <a:xfrm>
            <a:off x="4197453" y="2012178"/>
            <a:ext cx="1643869" cy="1058862"/>
          </a:xfrm>
          <a:prstGeom prst="rect">
            <a:avLst/>
          </a:prstGeom>
        </p:spPr>
        <p:txBody>
          <a:bodyPr/>
          <a:lstStyle/>
          <a:p>
            <a:endParaRPr lang="en-US" dirty="0"/>
          </a:p>
        </p:txBody>
      </p:sp>
      <p:sp>
        <p:nvSpPr>
          <p:cNvPr id="36" name="Picture Placeholder 2">
            <a:extLst>
              <a:ext uri="{FF2B5EF4-FFF2-40B4-BE49-F238E27FC236}">
                <a16:creationId xmlns:a16="http://schemas.microsoft.com/office/drawing/2014/main" id="{44E7A985-A721-C642-8A01-B43F591F76EE}"/>
              </a:ext>
            </a:extLst>
          </p:cNvPr>
          <p:cNvSpPr>
            <a:spLocks noGrp="1"/>
          </p:cNvSpPr>
          <p:nvPr>
            <p:ph type="pic" sz="quarter" idx="36"/>
          </p:nvPr>
        </p:nvSpPr>
        <p:spPr>
          <a:xfrm>
            <a:off x="6085092" y="2012178"/>
            <a:ext cx="1643869" cy="1058862"/>
          </a:xfrm>
          <a:prstGeom prst="rect">
            <a:avLst/>
          </a:prstGeom>
        </p:spPr>
        <p:txBody>
          <a:bodyPr/>
          <a:lstStyle/>
          <a:p>
            <a:endParaRPr lang="en-US" dirty="0"/>
          </a:p>
        </p:txBody>
      </p:sp>
      <p:sp>
        <p:nvSpPr>
          <p:cNvPr id="37" name="Picture Placeholder 2">
            <a:extLst>
              <a:ext uri="{FF2B5EF4-FFF2-40B4-BE49-F238E27FC236}">
                <a16:creationId xmlns:a16="http://schemas.microsoft.com/office/drawing/2014/main" id="{5FA04993-DD2D-FE4F-9418-231283FBC620}"/>
              </a:ext>
            </a:extLst>
          </p:cNvPr>
          <p:cNvSpPr>
            <a:spLocks noGrp="1"/>
          </p:cNvSpPr>
          <p:nvPr>
            <p:ph type="pic" sz="quarter" idx="37"/>
          </p:nvPr>
        </p:nvSpPr>
        <p:spPr>
          <a:xfrm>
            <a:off x="7927464" y="2012178"/>
            <a:ext cx="1643869" cy="1058862"/>
          </a:xfrm>
          <a:prstGeom prst="rect">
            <a:avLst/>
          </a:prstGeom>
        </p:spPr>
        <p:txBody>
          <a:bodyPr/>
          <a:lstStyle/>
          <a:p>
            <a:endParaRPr lang="en-US" dirty="0"/>
          </a:p>
        </p:txBody>
      </p:sp>
      <p:sp>
        <p:nvSpPr>
          <p:cNvPr id="38" name="Picture Placeholder 2">
            <a:extLst>
              <a:ext uri="{FF2B5EF4-FFF2-40B4-BE49-F238E27FC236}">
                <a16:creationId xmlns:a16="http://schemas.microsoft.com/office/drawing/2014/main" id="{F831207F-DC8C-AA47-AFC2-667CF2F429E4}"/>
              </a:ext>
            </a:extLst>
          </p:cNvPr>
          <p:cNvSpPr>
            <a:spLocks noGrp="1"/>
          </p:cNvSpPr>
          <p:nvPr>
            <p:ph type="pic" sz="quarter" idx="38"/>
          </p:nvPr>
        </p:nvSpPr>
        <p:spPr>
          <a:xfrm>
            <a:off x="518540" y="3942630"/>
            <a:ext cx="1643869" cy="1058862"/>
          </a:xfrm>
          <a:prstGeom prst="rect">
            <a:avLst/>
          </a:prstGeom>
        </p:spPr>
        <p:txBody>
          <a:bodyPr/>
          <a:lstStyle/>
          <a:p>
            <a:endParaRPr lang="en-US" dirty="0"/>
          </a:p>
        </p:txBody>
      </p:sp>
      <p:sp>
        <p:nvSpPr>
          <p:cNvPr id="39" name="Picture Placeholder 2">
            <a:extLst>
              <a:ext uri="{FF2B5EF4-FFF2-40B4-BE49-F238E27FC236}">
                <a16:creationId xmlns:a16="http://schemas.microsoft.com/office/drawing/2014/main" id="{A2F6536A-9693-E841-AD61-8C359448084F}"/>
              </a:ext>
            </a:extLst>
          </p:cNvPr>
          <p:cNvSpPr>
            <a:spLocks noGrp="1"/>
          </p:cNvSpPr>
          <p:nvPr>
            <p:ph type="pic" sz="quarter" idx="39"/>
          </p:nvPr>
        </p:nvSpPr>
        <p:spPr>
          <a:xfrm>
            <a:off x="2361401" y="3942630"/>
            <a:ext cx="1643869" cy="1058862"/>
          </a:xfrm>
          <a:prstGeom prst="rect">
            <a:avLst/>
          </a:prstGeom>
        </p:spPr>
        <p:txBody>
          <a:bodyPr/>
          <a:lstStyle/>
          <a:p>
            <a:endParaRPr lang="en-US" dirty="0"/>
          </a:p>
        </p:txBody>
      </p:sp>
      <p:sp>
        <p:nvSpPr>
          <p:cNvPr id="40" name="Picture Placeholder 2">
            <a:extLst>
              <a:ext uri="{FF2B5EF4-FFF2-40B4-BE49-F238E27FC236}">
                <a16:creationId xmlns:a16="http://schemas.microsoft.com/office/drawing/2014/main" id="{28EFB759-7961-0F4B-9DA2-9B07D82B3B79}"/>
              </a:ext>
            </a:extLst>
          </p:cNvPr>
          <p:cNvSpPr>
            <a:spLocks noGrp="1"/>
          </p:cNvSpPr>
          <p:nvPr>
            <p:ph type="pic" sz="quarter" idx="40"/>
          </p:nvPr>
        </p:nvSpPr>
        <p:spPr>
          <a:xfrm>
            <a:off x="4197453" y="3942630"/>
            <a:ext cx="1643869" cy="1058862"/>
          </a:xfrm>
          <a:prstGeom prst="rect">
            <a:avLst/>
          </a:prstGeom>
        </p:spPr>
        <p:txBody>
          <a:bodyPr/>
          <a:lstStyle/>
          <a:p>
            <a:endParaRPr lang="en-US" dirty="0"/>
          </a:p>
        </p:txBody>
      </p:sp>
      <p:sp>
        <p:nvSpPr>
          <p:cNvPr id="41" name="Picture Placeholder 2">
            <a:extLst>
              <a:ext uri="{FF2B5EF4-FFF2-40B4-BE49-F238E27FC236}">
                <a16:creationId xmlns:a16="http://schemas.microsoft.com/office/drawing/2014/main" id="{F10325A2-6AE5-2B40-BA16-62A41FF09948}"/>
              </a:ext>
            </a:extLst>
          </p:cNvPr>
          <p:cNvSpPr>
            <a:spLocks noGrp="1"/>
          </p:cNvSpPr>
          <p:nvPr>
            <p:ph type="pic" sz="quarter" idx="41"/>
          </p:nvPr>
        </p:nvSpPr>
        <p:spPr>
          <a:xfrm>
            <a:off x="6085092" y="3942630"/>
            <a:ext cx="1643869" cy="1058862"/>
          </a:xfrm>
          <a:prstGeom prst="rect">
            <a:avLst/>
          </a:prstGeom>
        </p:spPr>
        <p:txBody>
          <a:bodyPr/>
          <a:lstStyle/>
          <a:p>
            <a:endParaRPr lang="en-US" dirty="0"/>
          </a:p>
        </p:txBody>
      </p:sp>
      <p:sp>
        <p:nvSpPr>
          <p:cNvPr id="42" name="Picture Placeholder 2">
            <a:extLst>
              <a:ext uri="{FF2B5EF4-FFF2-40B4-BE49-F238E27FC236}">
                <a16:creationId xmlns:a16="http://schemas.microsoft.com/office/drawing/2014/main" id="{48548331-C398-0441-8680-2BC2E34EA6B7}"/>
              </a:ext>
            </a:extLst>
          </p:cNvPr>
          <p:cNvSpPr>
            <a:spLocks noGrp="1"/>
          </p:cNvSpPr>
          <p:nvPr>
            <p:ph type="pic" sz="quarter" idx="42"/>
          </p:nvPr>
        </p:nvSpPr>
        <p:spPr>
          <a:xfrm>
            <a:off x="7927464" y="3942630"/>
            <a:ext cx="1643869" cy="1058862"/>
          </a:xfrm>
          <a:prstGeom prst="rect">
            <a:avLst/>
          </a:prstGeom>
        </p:spPr>
        <p:txBody>
          <a:bodyPr/>
          <a:lstStyle/>
          <a:p>
            <a:endParaRPr lang="en-US" dirty="0"/>
          </a:p>
        </p:txBody>
      </p:sp>
      <p:sp>
        <p:nvSpPr>
          <p:cNvPr id="43" name="Picture Placeholder 2">
            <a:extLst>
              <a:ext uri="{FF2B5EF4-FFF2-40B4-BE49-F238E27FC236}">
                <a16:creationId xmlns:a16="http://schemas.microsoft.com/office/drawing/2014/main" id="{DD52C364-564D-1C4F-82AA-CD456091DD55}"/>
              </a:ext>
            </a:extLst>
          </p:cNvPr>
          <p:cNvSpPr>
            <a:spLocks noGrp="1"/>
          </p:cNvSpPr>
          <p:nvPr>
            <p:ph type="pic" sz="quarter" idx="43"/>
          </p:nvPr>
        </p:nvSpPr>
        <p:spPr>
          <a:xfrm>
            <a:off x="6632170" y="611157"/>
            <a:ext cx="1643869" cy="1058862"/>
          </a:xfrm>
          <a:prstGeom prst="rect">
            <a:avLst/>
          </a:prstGeom>
        </p:spPr>
        <p:txBody>
          <a:bodyPr/>
          <a:lstStyle/>
          <a:p>
            <a:endParaRPr lang="en-US" dirty="0"/>
          </a:p>
        </p:txBody>
      </p:sp>
      <p:sp>
        <p:nvSpPr>
          <p:cNvPr id="44" name="Text Placeholder 10">
            <a:extLst>
              <a:ext uri="{FF2B5EF4-FFF2-40B4-BE49-F238E27FC236}">
                <a16:creationId xmlns:a16="http://schemas.microsoft.com/office/drawing/2014/main" id="{34A5EC81-F5AA-BD4F-AD20-F610E3D2A6A9}"/>
              </a:ext>
            </a:extLst>
          </p:cNvPr>
          <p:cNvSpPr>
            <a:spLocks noGrp="1"/>
          </p:cNvSpPr>
          <p:nvPr>
            <p:ph type="body" sz="quarter" idx="44" hasCustomPrompt="1"/>
          </p:nvPr>
        </p:nvSpPr>
        <p:spPr>
          <a:xfrm>
            <a:off x="9759476" y="3185414"/>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a:t>Name Surname</a:t>
            </a:r>
          </a:p>
        </p:txBody>
      </p:sp>
      <p:sp>
        <p:nvSpPr>
          <p:cNvPr id="45" name="Text Placeholder 12">
            <a:extLst>
              <a:ext uri="{FF2B5EF4-FFF2-40B4-BE49-F238E27FC236}">
                <a16:creationId xmlns:a16="http://schemas.microsoft.com/office/drawing/2014/main" id="{F8D452BD-BCAB-8E4B-8F90-5D25276410E3}"/>
              </a:ext>
            </a:extLst>
          </p:cNvPr>
          <p:cNvSpPr>
            <a:spLocks noGrp="1"/>
          </p:cNvSpPr>
          <p:nvPr>
            <p:ph type="body" sz="quarter" idx="45" hasCustomPrompt="1"/>
          </p:nvPr>
        </p:nvSpPr>
        <p:spPr>
          <a:xfrm>
            <a:off x="9759385" y="3358874"/>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a:t>Job title</a:t>
            </a:r>
            <a:endParaRPr lang="en-US"/>
          </a:p>
        </p:txBody>
      </p:sp>
      <p:sp>
        <p:nvSpPr>
          <p:cNvPr id="46" name="Text Placeholder 10">
            <a:extLst>
              <a:ext uri="{FF2B5EF4-FFF2-40B4-BE49-F238E27FC236}">
                <a16:creationId xmlns:a16="http://schemas.microsoft.com/office/drawing/2014/main" id="{3C461A69-4097-4449-90FF-4E186AE70D69}"/>
              </a:ext>
            </a:extLst>
          </p:cNvPr>
          <p:cNvSpPr>
            <a:spLocks noGrp="1"/>
          </p:cNvSpPr>
          <p:nvPr>
            <p:ph type="body" sz="quarter" idx="46" hasCustomPrompt="1"/>
          </p:nvPr>
        </p:nvSpPr>
        <p:spPr>
          <a:xfrm>
            <a:off x="9759476" y="5115866"/>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a:t>Name Surname</a:t>
            </a:r>
          </a:p>
        </p:txBody>
      </p:sp>
      <p:sp>
        <p:nvSpPr>
          <p:cNvPr id="47" name="Text Placeholder 12">
            <a:extLst>
              <a:ext uri="{FF2B5EF4-FFF2-40B4-BE49-F238E27FC236}">
                <a16:creationId xmlns:a16="http://schemas.microsoft.com/office/drawing/2014/main" id="{8CF0C9D9-5593-DE4A-8CDE-70AC8BAEB3F3}"/>
              </a:ext>
            </a:extLst>
          </p:cNvPr>
          <p:cNvSpPr>
            <a:spLocks noGrp="1"/>
          </p:cNvSpPr>
          <p:nvPr>
            <p:ph type="body" sz="quarter" idx="47" hasCustomPrompt="1"/>
          </p:nvPr>
        </p:nvSpPr>
        <p:spPr>
          <a:xfrm>
            <a:off x="9759385" y="5289326"/>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a:t>Job title</a:t>
            </a:r>
            <a:endParaRPr lang="en-US"/>
          </a:p>
        </p:txBody>
      </p:sp>
      <p:sp>
        <p:nvSpPr>
          <p:cNvPr id="48" name="Picture Placeholder 2">
            <a:extLst>
              <a:ext uri="{FF2B5EF4-FFF2-40B4-BE49-F238E27FC236}">
                <a16:creationId xmlns:a16="http://schemas.microsoft.com/office/drawing/2014/main" id="{130CC36B-383B-694A-B2BC-DC26B0643A4B}"/>
              </a:ext>
            </a:extLst>
          </p:cNvPr>
          <p:cNvSpPr>
            <a:spLocks noGrp="1"/>
          </p:cNvSpPr>
          <p:nvPr>
            <p:ph type="pic" sz="quarter" idx="48"/>
          </p:nvPr>
        </p:nvSpPr>
        <p:spPr>
          <a:xfrm>
            <a:off x="9764216" y="2012178"/>
            <a:ext cx="1643869" cy="1058862"/>
          </a:xfrm>
          <a:prstGeom prst="rect">
            <a:avLst/>
          </a:prstGeom>
        </p:spPr>
        <p:txBody>
          <a:bodyPr/>
          <a:lstStyle/>
          <a:p>
            <a:endParaRPr lang="en-US" dirty="0"/>
          </a:p>
        </p:txBody>
      </p:sp>
      <p:sp>
        <p:nvSpPr>
          <p:cNvPr id="49" name="Picture Placeholder 2">
            <a:extLst>
              <a:ext uri="{FF2B5EF4-FFF2-40B4-BE49-F238E27FC236}">
                <a16:creationId xmlns:a16="http://schemas.microsoft.com/office/drawing/2014/main" id="{426D85E2-E3EC-D747-8E19-BC2E5FD68A65}"/>
              </a:ext>
            </a:extLst>
          </p:cNvPr>
          <p:cNvSpPr>
            <a:spLocks noGrp="1"/>
          </p:cNvSpPr>
          <p:nvPr>
            <p:ph type="pic" sz="quarter" idx="49"/>
          </p:nvPr>
        </p:nvSpPr>
        <p:spPr>
          <a:xfrm>
            <a:off x="9764216" y="3942630"/>
            <a:ext cx="1643869" cy="1058862"/>
          </a:xfrm>
          <a:prstGeom prst="rect">
            <a:avLst/>
          </a:prstGeom>
        </p:spPr>
        <p:txBody>
          <a:bodyPr/>
          <a:lstStyle/>
          <a:p>
            <a:endParaRPr lang="en-US" dirty="0"/>
          </a:p>
        </p:txBody>
      </p:sp>
      <p:pic>
        <p:nvPicPr>
          <p:cNvPr id="51" name="Picture 50">
            <a:extLst>
              <a:ext uri="{FF2B5EF4-FFF2-40B4-BE49-F238E27FC236}">
                <a16:creationId xmlns:a16="http://schemas.microsoft.com/office/drawing/2014/main" id="{557146A8-C6A5-974F-A80C-0D6180B310C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6248400"/>
            <a:ext cx="12192000" cy="609600"/>
          </a:xfrm>
          <a:prstGeom prst="rect">
            <a:avLst/>
          </a:prstGeom>
        </p:spPr>
      </p:pic>
    </p:spTree>
    <p:extLst>
      <p:ext uri="{BB962C8B-B14F-4D97-AF65-F5344CB8AC3E}">
        <p14:creationId xmlns:p14="http://schemas.microsoft.com/office/powerpoint/2010/main" val="98584947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_Copy_Bullets">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1BE0F4E-7F52-BF43-AF16-31579F5CC45F}"/>
              </a:ext>
            </a:extLst>
          </p:cNvPr>
          <p:cNvSpPr>
            <a:spLocks noGrp="1"/>
          </p:cNvSpPr>
          <p:nvPr>
            <p:ph type="pic" sz="quarter" idx="10"/>
          </p:nvPr>
        </p:nvSpPr>
        <p:spPr>
          <a:xfrm>
            <a:off x="0" y="0"/>
            <a:ext cx="12192000" cy="6858000"/>
          </a:xfrm>
          <a:prstGeom prst="rect">
            <a:avLst/>
          </a:prstGeom>
        </p:spPr>
        <p:txBody>
          <a:bodyPr/>
          <a:lstStyle/>
          <a:p>
            <a:endParaRPr lang="en-US" dirty="0"/>
          </a:p>
        </p:txBody>
      </p:sp>
      <p:sp>
        <p:nvSpPr>
          <p:cNvPr id="8" name="Title 1">
            <a:extLst>
              <a:ext uri="{FF2B5EF4-FFF2-40B4-BE49-F238E27FC236}">
                <a16:creationId xmlns:a16="http://schemas.microsoft.com/office/drawing/2014/main" id="{5273F311-619C-EE41-937C-5749C9503E0D}"/>
              </a:ext>
            </a:extLst>
          </p:cNvPr>
          <p:cNvSpPr>
            <a:spLocks noGrp="1"/>
          </p:cNvSpPr>
          <p:nvPr>
            <p:ph type="title"/>
          </p:nvPr>
        </p:nvSpPr>
        <p:spPr>
          <a:xfrm>
            <a:off x="627025" y="560117"/>
            <a:ext cx="5043199" cy="1289948"/>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9" name="Text Placeholder 11">
            <a:extLst>
              <a:ext uri="{FF2B5EF4-FFF2-40B4-BE49-F238E27FC236}">
                <a16:creationId xmlns:a16="http://schemas.microsoft.com/office/drawing/2014/main" id="{40614858-C7E0-384B-835C-E29EEB6B5850}"/>
              </a:ext>
            </a:extLst>
          </p:cNvPr>
          <p:cNvSpPr>
            <a:spLocks noGrp="1"/>
          </p:cNvSpPr>
          <p:nvPr>
            <p:ph type="body" sz="quarter" idx="11"/>
          </p:nvPr>
        </p:nvSpPr>
        <p:spPr>
          <a:xfrm>
            <a:off x="627024" y="2410182"/>
            <a:ext cx="5043199" cy="2024936"/>
          </a:xfrm>
          <a:prstGeom prst="rect">
            <a:avLst/>
          </a:prstGeom>
          <a:ln>
            <a:noFill/>
          </a:ln>
        </p:spPr>
        <p:txBody>
          <a:bodyPr/>
          <a:lstStyle>
            <a:lvl1pPr marL="0" indent="0">
              <a:buNone/>
              <a:defRPr sz="1400" b="0" i="0">
                <a:solidFill>
                  <a:srgbClr val="FFBF22"/>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
        <p:nvSpPr>
          <p:cNvPr id="10" name="Text Placeholder 11">
            <a:extLst>
              <a:ext uri="{FF2B5EF4-FFF2-40B4-BE49-F238E27FC236}">
                <a16:creationId xmlns:a16="http://schemas.microsoft.com/office/drawing/2014/main" id="{09C47B6E-226B-D145-B819-97EEF7D88F7A}"/>
              </a:ext>
            </a:extLst>
          </p:cNvPr>
          <p:cNvSpPr>
            <a:spLocks noGrp="1"/>
          </p:cNvSpPr>
          <p:nvPr>
            <p:ph type="body" sz="quarter" idx="12"/>
          </p:nvPr>
        </p:nvSpPr>
        <p:spPr>
          <a:xfrm>
            <a:off x="627024" y="4595737"/>
            <a:ext cx="5043199" cy="228034"/>
          </a:xfrm>
          <a:prstGeom prst="rect">
            <a:avLst/>
          </a:prstGeom>
          <a:ln>
            <a:noFill/>
          </a:ln>
        </p:spPr>
        <p:txBody>
          <a:bodyPr/>
          <a:lstStyle>
            <a:lvl1pPr marL="0" indent="0">
              <a:buNone/>
              <a:defRPr sz="1200" b="1" i="1">
                <a:solidFill>
                  <a:srgbClr val="E75400"/>
                </a:solidFill>
                <a:latin typeface="Helvetica Neue LT Std 97 Black " panose="020B0604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
        <p:nvSpPr>
          <p:cNvPr id="12" name="Text Placeholder 11">
            <a:extLst>
              <a:ext uri="{FF2B5EF4-FFF2-40B4-BE49-F238E27FC236}">
                <a16:creationId xmlns:a16="http://schemas.microsoft.com/office/drawing/2014/main" id="{60F38ADB-7D45-C04A-9FF2-6847299BBE4E}"/>
              </a:ext>
            </a:extLst>
          </p:cNvPr>
          <p:cNvSpPr>
            <a:spLocks noGrp="1"/>
          </p:cNvSpPr>
          <p:nvPr>
            <p:ph type="body" sz="quarter" idx="13"/>
          </p:nvPr>
        </p:nvSpPr>
        <p:spPr>
          <a:xfrm>
            <a:off x="627023" y="4978510"/>
            <a:ext cx="5043199" cy="867691"/>
          </a:xfrm>
          <a:prstGeom prst="rect">
            <a:avLst/>
          </a:prstGeom>
          <a:ln>
            <a:noFill/>
          </a:ln>
        </p:spPr>
        <p:txBody>
          <a:bodyPr numCol="2"/>
          <a:lstStyle>
            <a:lvl1pPr marL="285750" indent="-285750">
              <a:buFont typeface="Arial" panose="020B0604020202020204" pitchFamily="34" charset="0"/>
              <a:buChar char="•"/>
              <a:defRPr sz="12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20201E"/>
                </a:solidFill>
                <a:latin typeface="Helvetica Neue LT Std 45 Light" panose="020B0403020202020204" pitchFamily="34" charset="0"/>
              </a:defRPr>
            </a:lvl3pPr>
            <a:lvl4pPr marL="1371566" indent="0">
              <a:buFont typeface="Arial" panose="020B0604020202020204" pitchFamily="34" charset="0"/>
              <a:buNone/>
              <a:defRPr sz="1400" b="0" i="0">
                <a:solidFill>
                  <a:srgbClr val="20201E"/>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pic>
        <p:nvPicPr>
          <p:cNvPr id="13" name="Picture 12">
            <a:extLst>
              <a:ext uri="{FF2B5EF4-FFF2-40B4-BE49-F238E27FC236}">
                <a16:creationId xmlns:a16="http://schemas.microsoft.com/office/drawing/2014/main" id="{51C126A1-39C9-0641-91C2-B4B94AB26EC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6248400"/>
            <a:ext cx="12192000" cy="609600"/>
          </a:xfrm>
          <a:prstGeom prst="rect">
            <a:avLst/>
          </a:prstGeom>
        </p:spPr>
      </p:pic>
    </p:spTree>
    <p:extLst>
      <p:ext uri="{BB962C8B-B14F-4D97-AF65-F5344CB8AC3E}">
        <p14:creationId xmlns:p14="http://schemas.microsoft.com/office/powerpoint/2010/main" val="96721814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arge Text _ Bullet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18ED66F-0EB9-EB4F-A569-6553307991A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50B05D63-EF16-2143-86ED-6E9D01BA1583}"/>
              </a:ext>
            </a:extLst>
          </p:cNvPr>
          <p:cNvSpPr>
            <a:spLocks noGrp="1"/>
          </p:cNvSpPr>
          <p:nvPr>
            <p:ph type="title" hasCustomPrompt="1"/>
          </p:nvPr>
        </p:nvSpPr>
        <p:spPr>
          <a:xfrm>
            <a:off x="-423332" y="1029439"/>
            <a:ext cx="5466532" cy="4822721"/>
          </a:xfrm>
          <a:prstGeom prst="rect">
            <a:avLst/>
          </a:prstGeom>
        </p:spPr>
        <p:txBody>
          <a:bodyPr anchor="t"/>
          <a:lstStyle>
            <a:lvl1pPr algn="r">
              <a:defRPr sz="8800" b="0" i="0">
                <a:solidFill>
                  <a:schemeClr val="bg1"/>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a:t>CLICK TO EDIT MASTER TITLE</a:t>
            </a:r>
            <a:endParaRPr lang="en-US"/>
          </a:p>
        </p:txBody>
      </p:sp>
      <p:sp>
        <p:nvSpPr>
          <p:cNvPr id="6" name="Text Placeholder 11">
            <a:extLst>
              <a:ext uri="{FF2B5EF4-FFF2-40B4-BE49-F238E27FC236}">
                <a16:creationId xmlns:a16="http://schemas.microsoft.com/office/drawing/2014/main" id="{7CB0A175-8000-8045-8A36-936A38EAF87E}"/>
              </a:ext>
            </a:extLst>
          </p:cNvPr>
          <p:cNvSpPr>
            <a:spLocks noGrp="1"/>
          </p:cNvSpPr>
          <p:nvPr>
            <p:ph type="body" sz="quarter" idx="12"/>
          </p:nvPr>
        </p:nvSpPr>
        <p:spPr>
          <a:xfrm>
            <a:off x="7603067" y="1363133"/>
            <a:ext cx="4199466" cy="4131734"/>
          </a:xfrm>
          <a:prstGeom prst="rect">
            <a:avLst/>
          </a:prstGeom>
          <a:ln>
            <a:noFill/>
          </a:ln>
        </p:spPr>
        <p:txBody>
          <a:bodyPr anchor="ctr"/>
          <a:lstStyle>
            <a:lvl1pPr marL="171450" indent="-171450">
              <a:buFont typeface="Arial" panose="020B0604020202020204" pitchFamily="34" charset="0"/>
              <a:buChar char="•"/>
              <a:defRPr sz="2000" b="0" i="0">
                <a:solidFill>
                  <a:schemeClr val="bg1"/>
                </a:solidFill>
                <a:latin typeface="Helvetica Neue LT Std 65 Medium" panose="020B0604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Tree>
    <p:extLst>
      <p:ext uri="{BB962C8B-B14F-4D97-AF65-F5344CB8AC3E}">
        <p14:creationId xmlns:p14="http://schemas.microsoft.com/office/powerpoint/2010/main" val="88479806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Large Text _ Bullet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18ED66F-0EB9-EB4F-A569-6553307991A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203438"/>
            <a:ext cx="12192000" cy="6858000"/>
          </a:xfrm>
          <a:prstGeom prst="rect">
            <a:avLst/>
          </a:prstGeom>
        </p:spPr>
      </p:pic>
      <p:sp>
        <p:nvSpPr>
          <p:cNvPr id="5" name="Title 1">
            <a:extLst>
              <a:ext uri="{FF2B5EF4-FFF2-40B4-BE49-F238E27FC236}">
                <a16:creationId xmlns:a16="http://schemas.microsoft.com/office/drawing/2014/main" id="{50B05D63-EF16-2143-86ED-6E9D01BA1583}"/>
              </a:ext>
            </a:extLst>
          </p:cNvPr>
          <p:cNvSpPr>
            <a:spLocks noGrp="1"/>
          </p:cNvSpPr>
          <p:nvPr>
            <p:ph type="title" hasCustomPrompt="1"/>
          </p:nvPr>
        </p:nvSpPr>
        <p:spPr>
          <a:xfrm>
            <a:off x="-423332" y="714006"/>
            <a:ext cx="5466532" cy="4822721"/>
          </a:xfrm>
          <a:prstGeom prst="rect">
            <a:avLst/>
          </a:prstGeom>
        </p:spPr>
        <p:txBody>
          <a:bodyPr anchor="t"/>
          <a:lstStyle>
            <a:lvl1pPr algn="r">
              <a:defRPr sz="8800" b="0" i="0">
                <a:solidFill>
                  <a:schemeClr val="bg1"/>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a:t>CLICK TO EDIT MASTER TITLE</a:t>
            </a:r>
            <a:endParaRPr lang="en-US"/>
          </a:p>
        </p:txBody>
      </p:sp>
      <p:sp>
        <p:nvSpPr>
          <p:cNvPr id="6" name="Text Placeholder 11">
            <a:extLst>
              <a:ext uri="{FF2B5EF4-FFF2-40B4-BE49-F238E27FC236}">
                <a16:creationId xmlns:a16="http://schemas.microsoft.com/office/drawing/2014/main" id="{7CB0A175-8000-8045-8A36-936A38EAF87E}"/>
              </a:ext>
            </a:extLst>
          </p:cNvPr>
          <p:cNvSpPr>
            <a:spLocks noGrp="1"/>
          </p:cNvSpPr>
          <p:nvPr>
            <p:ph type="body" sz="quarter" idx="12"/>
          </p:nvPr>
        </p:nvSpPr>
        <p:spPr>
          <a:xfrm>
            <a:off x="7603067" y="1047700"/>
            <a:ext cx="4199466" cy="4131734"/>
          </a:xfrm>
          <a:prstGeom prst="rect">
            <a:avLst/>
          </a:prstGeom>
          <a:ln>
            <a:noFill/>
          </a:ln>
        </p:spPr>
        <p:txBody>
          <a:bodyPr anchor="ctr"/>
          <a:lstStyle>
            <a:lvl1pPr marL="171450" indent="-171450">
              <a:buFont typeface="Arial" panose="020B0604020202020204" pitchFamily="34" charset="0"/>
              <a:buChar char="•"/>
              <a:defRPr sz="2000" b="0" i="0">
                <a:solidFill>
                  <a:schemeClr val="bg1"/>
                </a:solidFill>
                <a:latin typeface="Helvetica Neue LT Std 65 Medium" panose="020B0604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pic>
        <p:nvPicPr>
          <p:cNvPr id="7" name="Picture 6">
            <a:extLst>
              <a:ext uri="{FF2B5EF4-FFF2-40B4-BE49-F238E27FC236}">
                <a16:creationId xmlns:a16="http://schemas.microsoft.com/office/drawing/2014/main" id="{E578A5C3-04DF-D048-947C-652A68DDAA73}"/>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0" y="6248400"/>
            <a:ext cx="12192000" cy="609600"/>
          </a:xfrm>
          <a:prstGeom prst="rect">
            <a:avLst/>
          </a:prstGeom>
        </p:spPr>
      </p:pic>
    </p:spTree>
    <p:extLst>
      <p:ext uri="{BB962C8B-B14F-4D97-AF65-F5344CB8AC3E}">
        <p14:creationId xmlns:p14="http://schemas.microsoft.com/office/powerpoint/2010/main" val="160465844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Our Mission">
    <p:spTree>
      <p:nvGrpSpPr>
        <p:cNvPr id="1" name=""/>
        <p:cNvGrpSpPr/>
        <p:nvPr/>
      </p:nvGrpSpPr>
      <p:grpSpPr>
        <a:xfrm>
          <a:off x="0" y="0"/>
          <a:ext cx="0" cy="0"/>
          <a:chOff x="0" y="0"/>
          <a:chExt cx="0" cy="0"/>
        </a:xfrm>
      </p:grpSpPr>
      <p:pic>
        <p:nvPicPr>
          <p:cNvPr id="4" name="Picture 3" descr="A picture containing food&#10;&#10;Description automatically generated">
            <a:extLst>
              <a:ext uri="{FF2B5EF4-FFF2-40B4-BE49-F238E27FC236}">
                <a16:creationId xmlns:a16="http://schemas.microsoft.com/office/drawing/2014/main" id="{8881344E-252E-1646-BC72-BAFC365E04B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Title 1">
            <a:extLst>
              <a:ext uri="{FF2B5EF4-FFF2-40B4-BE49-F238E27FC236}">
                <a16:creationId xmlns:a16="http://schemas.microsoft.com/office/drawing/2014/main" id="{603C7099-7BDF-EF49-AD35-BAF172AFBFE7}"/>
              </a:ext>
            </a:extLst>
          </p:cNvPr>
          <p:cNvSpPr>
            <a:spLocks noGrp="1"/>
          </p:cNvSpPr>
          <p:nvPr>
            <p:ph type="title"/>
          </p:nvPr>
        </p:nvSpPr>
        <p:spPr>
          <a:xfrm>
            <a:off x="3910848" y="4353172"/>
            <a:ext cx="4419336" cy="1480071"/>
          </a:xfrm>
          <a:prstGeom prst="rect">
            <a:avLst/>
          </a:prstGeom>
        </p:spPr>
        <p:txBody>
          <a:bodyPr anchor="t"/>
          <a:lstStyle>
            <a:lvl1pPr algn="ctr">
              <a:defRPr sz="1600" b="0" i="0">
                <a:solidFill>
                  <a:schemeClr val="bg1"/>
                </a:solidFill>
                <a:latin typeface="Helvetica Neue LT Std 55 Roman" panose="020B0604020202020204" pitchFamily="34" charset="0"/>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pic>
        <p:nvPicPr>
          <p:cNvPr id="6" name="Picture 5">
            <a:extLst>
              <a:ext uri="{FF2B5EF4-FFF2-40B4-BE49-F238E27FC236}">
                <a16:creationId xmlns:a16="http://schemas.microsoft.com/office/drawing/2014/main" id="{41AC7A00-DB93-444C-B44B-5D4749E8226A}"/>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0" y="6248400"/>
            <a:ext cx="12192000" cy="609600"/>
          </a:xfrm>
          <a:prstGeom prst="rect">
            <a:avLst/>
          </a:prstGeom>
        </p:spPr>
      </p:pic>
    </p:spTree>
    <p:extLst>
      <p:ext uri="{BB962C8B-B14F-4D97-AF65-F5344CB8AC3E}">
        <p14:creationId xmlns:p14="http://schemas.microsoft.com/office/powerpoint/2010/main" val="37822858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 Space">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C521267E-3022-A74A-971C-6C1E2121DF83}"/>
              </a:ext>
            </a:extLst>
          </p:cNvPr>
          <p:cNvPicPr>
            <a:picLocks noChangeAspect="1"/>
          </p:cNvPicPr>
          <p:nvPr/>
        </p:nvPicPr>
        <p:blipFill>
          <a:blip r:embed="rId2"/>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8E21D48B-0AA6-6545-8696-0290965D519C}"/>
              </a:ext>
            </a:extLst>
          </p:cNvPr>
          <p:cNvSpPr>
            <a:spLocks noGrp="1"/>
          </p:cNvSpPr>
          <p:nvPr>
            <p:ph type="title"/>
          </p:nvPr>
        </p:nvSpPr>
        <p:spPr>
          <a:xfrm>
            <a:off x="517629" y="1623373"/>
            <a:ext cx="3139971" cy="2166730"/>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dirty="0"/>
              <a:t>Click to edit Master title style</a:t>
            </a:r>
            <a:endParaRPr lang="en-US" dirty="0"/>
          </a:p>
        </p:txBody>
      </p:sp>
      <p:sp>
        <p:nvSpPr>
          <p:cNvPr id="12" name="Text Placeholder 11">
            <a:extLst>
              <a:ext uri="{FF2B5EF4-FFF2-40B4-BE49-F238E27FC236}">
                <a16:creationId xmlns:a16="http://schemas.microsoft.com/office/drawing/2014/main" id="{84AD00B6-DB3F-A94F-80AB-5497BFEDCD39}"/>
              </a:ext>
            </a:extLst>
          </p:cNvPr>
          <p:cNvSpPr>
            <a:spLocks noGrp="1"/>
          </p:cNvSpPr>
          <p:nvPr>
            <p:ph type="body" sz="quarter" idx="10" hasCustomPrompt="1"/>
          </p:nvPr>
        </p:nvSpPr>
        <p:spPr>
          <a:xfrm>
            <a:off x="3657600" y="1623373"/>
            <a:ext cx="3148908" cy="2932112"/>
          </a:xfrm>
          <a:prstGeom prst="rect">
            <a:avLst/>
          </a:prstGeom>
          <a:ln>
            <a:noFill/>
          </a:ln>
        </p:spPr>
        <p:txBody>
          <a:bodyPr/>
          <a:lstStyle>
            <a:lvl1pPr marL="0" indent="0">
              <a:buNone/>
              <a:defRPr sz="14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chemeClr val="tx1">
                    <a:lumMod val="65000"/>
                    <a:lumOff val="35000"/>
                  </a:schemeClr>
                </a:solidFill>
                <a:latin typeface="Helvetica Neue LT Std 45 Light" panose="020B0403020202020204" pitchFamily="34" charset="0"/>
              </a:defRPr>
            </a:lvl2pPr>
            <a:lvl3pPr marL="914377" indent="0">
              <a:buFont typeface="Arial" panose="020B0604020202020204" pitchFamily="34" charset="0"/>
              <a:buNone/>
              <a:defRPr sz="1400" b="0" i="0">
                <a:solidFill>
                  <a:schemeClr val="tx1">
                    <a:lumMod val="65000"/>
                    <a:lumOff val="35000"/>
                  </a:schemeClr>
                </a:solidFill>
                <a:latin typeface="Helvetica Neue LT Std 45 Light" panose="020B0403020202020204" pitchFamily="34" charset="0"/>
              </a:defRPr>
            </a:lvl3pPr>
            <a:lvl4pPr marL="1371566" indent="0">
              <a:buFont typeface="Arial" panose="020B0604020202020204" pitchFamily="34" charset="0"/>
              <a:buNone/>
              <a:defRPr sz="1400" b="0" i="0">
                <a:solidFill>
                  <a:schemeClr val="tx1">
                    <a:lumMod val="65000"/>
                    <a:lumOff val="35000"/>
                  </a:schemeClr>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r>
              <a:rPr lang="en-GB" dirty="0"/>
              <a:t>Second level</a:t>
            </a:r>
          </a:p>
          <a:p>
            <a:pPr lvl="1"/>
            <a:r>
              <a:rPr lang="en-GB" dirty="0"/>
              <a:t>Third level</a:t>
            </a:r>
          </a:p>
          <a:p>
            <a:pPr lvl="2"/>
            <a:r>
              <a:rPr lang="en-GB" dirty="0"/>
              <a:t>Fourth level</a:t>
            </a:r>
          </a:p>
          <a:p>
            <a:pPr lvl="3"/>
            <a:r>
              <a:rPr lang="en-GB" dirty="0"/>
              <a:t>Fifth level</a:t>
            </a:r>
            <a:endParaRPr lang="en-US" dirty="0"/>
          </a:p>
        </p:txBody>
      </p:sp>
      <p:pic>
        <p:nvPicPr>
          <p:cNvPr id="5" name="Picture 4">
            <a:extLst>
              <a:ext uri="{FF2B5EF4-FFF2-40B4-BE49-F238E27FC236}">
                <a16:creationId xmlns:a16="http://schemas.microsoft.com/office/drawing/2014/main" id="{D692D929-61E5-2249-9856-646EEDD981CC}"/>
              </a:ext>
            </a:extLst>
          </p:cNvPr>
          <p:cNvPicPr>
            <a:picLocks noChangeAspect="1"/>
          </p:cNvPicPr>
          <p:nvPr userDrawn="1"/>
        </p:nvPicPr>
        <p:blipFill>
          <a:blip r:embed="rId3"/>
          <a:stretch>
            <a:fillRect/>
          </a:stretch>
        </p:blipFill>
        <p:spPr>
          <a:xfrm>
            <a:off x="0" y="5816600"/>
            <a:ext cx="12192000" cy="1041400"/>
          </a:xfrm>
          <a:prstGeom prst="rect">
            <a:avLst/>
          </a:prstGeom>
        </p:spPr>
      </p:pic>
    </p:spTree>
    <p:extLst>
      <p:ext uri="{BB962C8B-B14F-4D97-AF65-F5344CB8AC3E}">
        <p14:creationId xmlns:p14="http://schemas.microsoft.com/office/powerpoint/2010/main" val="3307081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uccess 202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265DB93-84BA-6F4E-867A-6C9DDF392ED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14088"/>
            <a:ext cx="12192000" cy="6843912"/>
          </a:xfrm>
          <a:prstGeom prst="rect">
            <a:avLst/>
          </a:prstGeom>
        </p:spPr>
      </p:pic>
      <p:sp>
        <p:nvSpPr>
          <p:cNvPr id="3" name="Title 1">
            <a:extLst>
              <a:ext uri="{FF2B5EF4-FFF2-40B4-BE49-F238E27FC236}">
                <a16:creationId xmlns:a16="http://schemas.microsoft.com/office/drawing/2014/main" id="{D55661EB-4104-4747-B2EB-2D0E05A2DD4D}"/>
              </a:ext>
            </a:extLst>
          </p:cNvPr>
          <p:cNvSpPr>
            <a:spLocks noGrp="1"/>
          </p:cNvSpPr>
          <p:nvPr>
            <p:ph type="title"/>
          </p:nvPr>
        </p:nvSpPr>
        <p:spPr>
          <a:xfrm>
            <a:off x="627025" y="560117"/>
            <a:ext cx="5043199" cy="637747"/>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a:t>Click to edit</a:t>
            </a:r>
            <a:endParaRPr lang="en-US"/>
          </a:p>
        </p:txBody>
      </p:sp>
      <p:sp>
        <p:nvSpPr>
          <p:cNvPr id="8" name="Text Placeholder 11">
            <a:extLst>
              <a:ext uri="{FF2B5EF4-FFF2-40B4-BE49-F238E27FC236}">
                <a16:creationId xmlns:a16="http://schemas.microsoft.com/office/drawing/2014/main" id="{4CCEDE6E-3C12-1C43-A880-0B6F1300F28C}"/>
              </a:ext>
            </a:extLst>
          </p:cNvPr>
          <p:cNvSpPr>
            <a:spLocks noGrp="1"/>
          </p:cNvSpPr>
          <p:nvPr>
            <p:ph type="body" sz="quarter" idx="11"/>
          </p:nvPr>
        </p:nvSpPr>
        <p:spPr>
          <a:xfrm>
            <a:off x="968440" y="4873751"/>
            <a:ext cx="2180184" cy="966931"/>
          </a:xfrm>
          <a:prstGeom prst="rect">
            <a:avLst/>
          </a:prstGeom>
          <a:ln>
            <a:noFill/>
          </a:ln>
        </p:spPr>
        <p:txBody>
          <a:bodyPr/>
          <a:lstStyle>
            <a:lvl1pPr marL="0" indent="0" algn="ctr">
              <a:buNone/>
              <a:defRPr sz="1400" b="0" i="0">
                <a:solidFill>
                  <a:srgbClr val="FFBF22"/>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
        <p:nvSpPr>
          <p:cNvPr id="13" name="Text Placeholder 12">
            <a:extLst>
              <a:ext uri="{FF2B5EF4-FFF2-40B4-BE49-F238E27FC236}">
                <a16:creationId xmlns:a16="http://schemas.microsoft.com/office/drawing/2014/main" id="{CE6029B3-1496-8845-A0B4-692DF4171963}"/>
              </a:ext>
            </a:extLst>
          </p:cNvPr>
          <p:cNvSpPr>
            <a:spLocks noGrp="1"/>
          </p:cNvSpPr>
          <p:nvPr>
            <p:ph type="body" sz="quarter" idx="15"/>
          </p:nvPr>
        </p:nvSpPr>
        <p:spPr>
          <a:xfrm>
            <a:off x="1573212" y="1198563"/>
            <a:ext cx="3968051" cy="620712"/>
          </a:xfrm>
          <a:prstGeom prst="rect">
            <a:avLst/>
          </a:prstGeom>
        </p:spPr>
        <p:txBody>
          <a:bodyPr/>
          <a:lstStyle>
            <a:lvl1pPr marL="0" indent="0">
              <a:buNone/>
              <a:defRPr sz="2200" b="0" i="0">
                <a:solidFill>
                  <a:srgbClr val="FFBF22"/>
                </a:solidFill>
                <a:latin typeface="Helvetica Neue LT Std 65 Medium" panose="020B0604020202020204" pitchFamily="34" charset="0"/>
              </a:defRPr>
            </a:lvl1pPr>
            <a:lvl2pPr marL="457189" indent="0">
              <a:buNone/>
              <a:defRPr b="0" i="0">
                <a:solidFill>
                  <a:srgbClr val="E8BC28"/>
                </a:solidFill>
                <a:latin typeface="Helvetica Neue LT Std 65 Medium" panose="020B0604020202020204" pitchFamily="34" charset="0"/>
              </a:defRPr>
            </a:lvl2pPr>
            <a:lvl3pPr marL="914377" indent="0">
              <a:buNone/>
              <a:defRPr b="0" i="0">
                <a:solidFill>
                  <a:srgbClr val="E8BC28"/>
                </a:solidFill>
                <a:latin typeface="Helvetica Neue LT Std 65 Medium" panose="020B0604020202020204" pitchFamily="34" charset="0"/>
              </a:defRPr>
            </a:lvl3pPr>
            <a:lvl4pPr marL="1371566" indent="0">
              <a:buNone/>
              <a:defRPr b="0" i="0">
                <a:solidFill>
                  <a:srgbClr val="E8BC28"/>
                </a:solidFill>
                <a:latin typeface="Helvetica Neue LT Std 65 Medium" panose="020B0604020202020204" pitchFamily="34" charset="0"/>
              </a:defRPr>
            </a:lvl4pPr>
            <a:lvl5pPr marL="1828755" indent="0">
              <a:buNone/>
              <a:defRPr b="0" i="0">
                <a:solidFill>
                  <a:srgbClr val="E8BC28"/>
                </a:solidFill>
                <a:latin typeface="Helvetica Neue LT Std 65 Medium" panose="020B0604020202020204" pitchFamily="34" charset="0"/>
              </a:defRPr>
            </a:lvl5pPr>
          </a:lstStyle>
          <a:p>
            <a:pPr lvl="0"/>
            <a:r>
              <a:rPr lang="en-GB"/>
              <a:t>Click to edit Master</a:t>
            </a:r>
            <a:endParaRPr lang="en-US"/>
          </a:p>
        </p:txBody>
      </p:sp>
      <p:sp>
        <p:nvSpPr>
          <p:cNvPr id="14" name="Text Placeholder 11">
            <a:extLst>
              <a:ext uri="{FF2B5EF4-FFF2-40B4-BE49-F238E27FC236}">
                <a16:creationId xmlns:a16="http://schemas.microsoft.com/office/drawing/2014/main" id="{89013AE0-A7CE-7547-8EEA-81CCF43E43E2}"/>
              </a:ext>
            </a:extLst>
          </p:cNvPr>
          <p:cNvSpPr>
            <a:spLocks noGrp="1"/>
          </p:cNvSpPr>
          <p:nvPr>
            <p:ph type="body" sz="quarter" idx="16"/>
          </p:nvPr>
        </p:nvSpPr>
        <p:spPr>
          <a:xfrm>
            <a:off x="6427195" y="4873751"/>
            <a:ext cx="2180184" cy="966931"/>
          </a:xfrm>
          <a:prstGeom prst="rect">
            <a:avLst/>
          </a:prstGeom>
          <a:ln>
            <a:noFill/>
          </a:ln>
        </p:spPr>
        <p:txBody>
          <a:bodyPr/>
          <a:lstStyle>
            <a:lvl1pPr marL="0" indent="0" algn="ctr">
              <a:buNone/>
              <a:defRPr sz="1400" b="0" i="0">
                <a:solidFill>
                  <a:srgbClr val="FFBF22"/>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
        <p:nvSpPr>
          <p:cNvPr id="15" name="Text Placeholder 11">
            <a:extLst>
              <a:ext uri="{FF2B5EF4-FFF2-40B4-BE49-F238E27FC236}">
                <a16:creationId xmlns:a16="http://schemas.microsoft.com/office/drawing/2014/main" id="{9CD27893-F0D0-1A45-9332-495EA803DFB0}"/>
              </a:ext>
            </a:extLst>
          </p:cNvPr>
          <p:cNvSpPr>
            <a:spLocks noGrp="1"/>
          </p:cNvSpPr>
          <p:nvPr>
            <p:ph type="body" sz="quarter" idx="17"/>
          </p:nvPr>
        </p:nvSpPr>
        <p:spPr>
          <a:xfrm>
            <a:off x="3732860" y="4873750"/>
            <a:ext cx="2180184" cy="966931"/>
          </a:xfrm>
          <a:prstGeom prst="rect">
            <a:avLst/>
          </a:prstGeom>
          <a:ln>
            <a:noFill/>
          </a:ln>
        </p:spPr>
        <p:txBody>
          <a:bodyPr/>
          <a:lstStyle>
            <a:lvl1pPr marL="0" indent="0" algn="ctr">
              <a:buNone/>
              <a:defRPr sz="1400" b="0" i="0">
                <a:solidFill>
                  <a:srgbClr val="FFBF22"/>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
        <p:nvSpPr>
          <p:cNvPr id="16" name="Text Placeholder 11">
            <a:extLst>
              <a:ext uri="{FF2B5EF4-FFF2-40B4-BE49-F238E27FC236}">
                <a16:creationId xmlns:a16="http://schemas.microsoft.com/office/drawing/2014/main" id="{993E37F8-8A43-B148-B157-E7E2E1E6C38C}"/>
              </a:ext>
            </a:extLst>
          </p:cNvPr>
          <p:cNvSpPr>
            <a:spLocks noGrp="1"/>
          </p:cNvSpPr>
          <p:nvPr>
            <p:ph type="body" sz="quarter" idx="18"/>
          </p:nvPr>
        </p:nvSpPr>
        <p:spPr>
          <a:xfrm>
            <a:off x="9173817" y="4873751"/>
            <a:ext cx="2180184" cy="966931"/>
          </a:xfrm>
          <a:prstGeom prst="rect">
            <a:avLst/>
          </a:prstGeom>
          <a:ln>
            <a:noFill/>
          </a:ln>
        </p:spPr>
        <p:txBody>
          <a:bodyPr/>
          <a:lstStyle>
            <a:lvl1pPr marL="0" indent="0" algn="ctr">
              <a:buNone/>
              <a:defRPr sz="1400" b="0" i="0">
                <a:solidFill>
                  <a:srgbClr val="FFBF22"/>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pic>
        <p:nvPicPr>
          <p:cNvPr id="11" name="Picture 10">
            <a:extLst>
              <a:ext uri="{FF2B5EF4-FFF2-40B4-BE49-F238E27FC236}">
                <a16:creationId xmlns:a16="http://schemas.microsoft.com/office/drawing/2014/main" id="{07269F8E-8F8B-4449-8532-8C5C5BA8ABD2}"/>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0" y="6248400"/>
            <a:ext cx="12192000" cy="609600"/>
          </a:xfrm>
          <a:prstGeom prst="rect">
            <a:avLst/>
          </a:prstGeom>
        </p:spPr>
      </p:pic>
    </p:spTree>
    <p:extLst>
      <p:ext uri="{BB962C8B-B14F-4D97-AF65-F5344CB8AC3E}">
        <p14:creationId xmlns:p14="http://schemas.microsoft.com/office/powerpoint/2010/main" val="422045447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pic>
        <p:nvPicPr>
          <p:cNvPr id="4" name="Picture 3" descr="A picture containing table&#10;&#10;Description automatically generated">
            <a:extLst>
              <a:ext uri="{FF2B5EF4-FFF2-40B4-BE49-F238E27FC236}">
                <a16:creationId xmlns:a16="http://schemas.microsoft.com/office/drawing/2014/main" id="{1234C049-7FBE-5B46-833A-66DEB25DA9C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Text Placeholder 11">
            <a:extLst>
              <a:ext uri="{FF2B5EF4-FFF2-40B4-BE49-F238E27FC236}">
                <a16:creationId xmlns:a16="http://schemas.microsoft.com/office/drawing/2014/main" id="{E7F5ABC0-2EBF-7E4B-8636-DA45497EE8B7}"/>
              </a:ext>
            </a:extLst>
          </p:cNvPr>
          <p:cNvSpPr>
            <a:spLocks noGrp="1"/>
          </p:cNvSpPr>
          <p:nvPr>
            <p:ph type="body" sz="quarter" idx="11"/>
          </p:nvPr>
        </p:nvSpPr>
        <p:spPr>
          <a:xfrm>
            <a:off x="627025" y="1439107"/>
            <a:ext cx="4754880" cy="1288051"/>
          </a:xfrm>
          <a:prstGeom prst="rect">
            <a:avLst/>
          </a:prstGeom>
          <a:ln>
            <a:noFill/>
          </a:ln>
        </p:spPr>
        <p:txBody>
          <a:bodyPr/>
          <a:lstStyle>
            <a:lvl1pPr marL="0" indent="0">
              <a:buNone/>
              <a:defRPr sz="1400" b="0" i="0">
                <a:solidFill>
                  <a:srgbClr val="FFBF22"/>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
        <p:nvSpPr>
          <p:cNvPr id="15" name="Title 1">
            <a:extLst>
              <a:ext uri="{FF2B5EF4-FFF2-40B4-BE49-F238E27FC236}">
                <a16:creationId xmlns:a16="http://schemas.microsoft.com/office/drawing/2014/main" id="{4F259E3B-5DA7-3643-B801-D0107A195AB3}"/>
              </a:ext>
            </a:extLst>
          </p:cNvPr>
          <p:cNvSpPr>
            <a:spLocks noGrp="1"/>
          </p:cNvSpPr>
          <p:nvPr>
            <p:ph type="title"/>
          </p:nvPr>
        </p:nvSpPr>
        <p:spPr>
          <a:xfrm>
            <a:off x="627025" y="560117"/>
            <a:ext cx="8292386" cy="637747"/>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pic>
        <p:nvPicPr>
          <p:cNvPr id="7" name="Picture 6">
            <a:extLst>
              <a:ext uri="{FF2B5EF4-FFF2-40B4-BE49-F238E27FC236}">
                <a16:creationId xmlns:a16="http://schemas.microsoft.com/office/drawing/2014/main" id="{F4342FF0-A2BC-4140-9E7B-8727884F9D1D}"/>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0" y="6248400"/>
            <a:ext cx="12192000" cy="609600"/>
          </a:xfrm>
          <a:prstGeom prst="rect">
            <a:avLst/>
          </a:prstGeom>
        </p:spPr>
      </p:pic>
    </p:spTree>
    <p:extLst>
      <p:ext uri="{BB962C8B-B14F-4D97-AF65-F5344CB8AC3E}">
        <p14:creationId xmlns:p14="http://schemas.microsoft.com/office/powerpoint/2010/main" val="340933789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con_3Col_Layout">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97B6A48-DC40-E440-8A19-26BB129D6623}"/>
              </a:ext>
            </a:extLst>
          </p:cNvPr>
          <p:cNvSpPr>
            <a:spLocks noGrp="1"/>
          </p:cNvSpPr>
          <p:nvPr>
            <p:ph type="title"/>
          </p:nvPr>
        </p:nvSpPr>
        <p:spPr>
          <a:xfrm>
            <a:off x="1805585" y="780175"/>
            <a:ext cx="5043199" cy="637747"/>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6" name="Text Placeholder 11">
            <a:extLst>
              <a:ext uri="{FF2B5EF4-FFF2-40B4-BE49-F238E27FC236}">
                <a16:creationId xmlns:a16="http://schemas.microsoft.com/office/drawing/2014/main" id="{9CE9245F-A54E-6D46-803F-FE1389E58235}"/>
              </a:ext>
            </a:extLst>
          </p:cNvPr>
          <p:cNvSpPr>
            <a:spLocks noGrp="1"/>
          </p:cNvSpPr>
          <p:nvPr>
            <p:ph type="body" sz="quarter" idx="11"/>
          </p:nvPr>
        </p:nvSpPr>
        <p:spPr>
          <a:xfrm>
            <a:off x="3190240" y="2298492"/>
            <a:ext cx="4754880" cy="637747"/>
          </a:xfrm>
          <a:prstGeom prst="rect">
            <a:avLst/>
          </a:prstGeom>
          <a:ln>
            <a:noFill/>
          </a:ln>
        </p:spPr>
        <p:txBody>
          <a:bodyPr/>
          <a:lstStyle>
            <a:lvl1pPr marL="0" indent="0">
              <a:buNone/>
              <a:defRPr sz="1400" b="0" i="0">
                <a:solidFill>
                  <a:srgbClr val="FFBF22"/>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
        <p:nvSpPr>
          <p:cNvPr id="7" name="Text Placeholder 11">
            <a:extLst>
              <a:ext uri="{FF2B5EF4-FFF2-40B4-BE49-F238E27FC236}">
                <a16:creationId xmlns:a16="http://schemas.microsoft.com/office/drawing/2014/main" id="{CF042509-A226-C344-A6BB-C999500CA23C}"/>
              </a:ext>
            </a:extLst>
          </p:cNvPr>
          <p:cNvSpPr>
            <a:spLocks noGrp="1"/>
          </p:cNvSpPr>
          <p:nvPr>
            <p:ph type="body" sz="quarter" idx="12"/>
          </p:nvPr>
        </p:nvSpPr>
        <p:spPr>
          <a:xfrm>
            <a:off x="3190240" y="3141702"/>
            <a:ext cx="8371840" cy="2111018"/>
          </a:xfrm>
          <a:prstGeom prst="rect">
            <a:avLst/>
          </a:prstGeom>
          <a:ln>
            <a:noFill/>
          </a:ln>
        </p:spPr>
        <p:txBody>
          <a:bodyPr numCol="3"/>
          <a:lstStyle>
            <a:lvl1pPr marL="0" indent="0">
              <a:buNone/>
              <a:defRPr sz="12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
        <p:nvSpPr>
          <p:cNvPr id="9" name="Picture Placeholder 8">
            <a:extLst>
              <a:ext uri="{FF2B5EF4-FFF2-40B4-BE49-F238E27FC236}">
                <a16:creationId xmlns:a16="http://schemas.microsoft.com/office/drawing/2014/main" id="{54BF29C9-0436-134E-A264-725F95AE9671}"/>
              </a:ext>
            </a:extLst>
          </p:cNvPr>
          <p:cNvSpPr>
            <a:spLocks noGrp="1"/>
          </p:cNvSpPr>
          <p:nvPr>
            <p:ph type="pic" sz="quarter" idx="13"/>
          </p:nvPr>
        </p:nvSpPr>
        <p:spPr>
          <a:xfrm>
            <a:off x="497523" y="779780"/>
            <a:ext cx="1147762" cy="1147763"/>
          </a:xfrm>
          <a:prstGeom prst="rect">
            <a:avLst/>
          </a:prstGeom>
        </p:spPr>
        <p:txBody>
          <a:bodyPr/>
          <a:lstStyle/>
          <a:p>
            <a:endParaRPr lang="en-US" dirty="0"/>
          </a:p>
        </p:txBody>
      </p:sp>
      <p:pic>
        <p:nvPicPr>
          <p:cNvPr id="11" name="Picture 10">
            <a:extLst>
              <a:ext uri="{FF2B5EF4-FFF2-40B4-BE49-F238E27FC236}">
                <a16:creationId xmlns:a16="http://schemas.microsoft.com/office/drawing/2014/main" id="{D056BF34-B32E-6243-A274-74B4622666D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6248400"/>
            <a:ext cx="12192000" cy="609600"/>
          </a:xfrm>
          <a:prstGeom prst="rect">
            <a:avLst/>
          </a:prstGeom>
        </p:spPr>
      </p:pic>
    </p:spTree>
    <p:extLst>
      <p:ext uri="{BB962C8B-B14F-4D97-AF65-F5344CB8AC3E}">
        <p14:creationId xmlns:p14="http://schemas.microsoft.com/office/powerpoint/2010/main" val="166262606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_Intro_Copy">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id="{9CE9245F-A54E-6D46-803F-FE1389E58235}"/>
              </a:ext>
            </a:extLst>
          </p:cNvPr>
          <p:cNvSpPr>
            <a:spLocks noGrp="1"/>
          </p:cNvSpPr>
          <p:nvPr>
            <p:ph type="body" sz="quarter" idx="11"/>
          </p:nvPr>
        </p:nvSpPr>
        <p:spPr>
          <a:xfrm>
            <a:off x="497522" y="1725843"/>
            <a:ext cx="11066292" cy="609600"/>
          </a:xfrm>
          <a:prstGeom prst="rect">
            <a:avLst/>
          </a:prstGeom>
          <a:ln>
            <a:noFill/>
          </a:ln>
        </p:spPr>
        <p:txBody>
          <a:bodyPr/>
          <a:lstStyle>
            <a:lvl1pPr marL="0" indent="0">
              <a:buNone/>
              <a:defRPr sz="1400" b="0" i="0">
                <a:solidFill>
                  <a:srgbClr val="FFBF22"/>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
        <p:nvSpPr>
          <p:cNvPr id="8" name="Title 1">
            <a:extLst>
              <a:ext uri="{FF2B5EF4-FFF2-40B4-BE49-F238E27FC236}">
                <a16:creationId xmlns:a16="http://schemas.microsoft.com/office/drawing/2014/main" id="{929765F6-EDB2-2A42-BBCA-10A614DAE0FA}"/>
              </a:ext>
            </a:extLst>
          </p:cNvPr>
          <p:cNvSpPr>
            <a:spLocks noGrp="1"/>
          </p:cNvSpPr>
          <p:nvPr>
            <p:ph type="title"/>
          </p:nvPr>
        </p:nvSpPr>
        <p:spPr>
          <a:xfrm>
            <a:off x="497522" y="780175"/>
            <a:ext cx="11066291" cy="735955"/>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10" name="Text Placeholder 11">
            <a:extLst>
              <a:ext uri="{FF2B5EF4-FFF2-40B4-BE49-F238E27FC236}">
                <a16:creationId xmlns:a16="http://schemas.microsoft.com/office/drawing/2014/main" id="{A677CB7A-1D72-1E45-BBB9-C15092A5C372}"/>
              </a:ext>
            </a:extLst>
          </p:cNvPr>
          <p:cNvSpPr>
            <a:spLocks noGrp="1"/>
          </p:cNvSpPr>
          <p:nvPr>
            <p:ph type="body" sz="quarter" idx="12"/>
          </p:nvPr>
        </p:nvSpPr>
        <p:spPr>
          <a:xfrm>
            <a:off x="497521" y="2495543"/>
            <a:ext cx="11066293" cy="3582282"/>
          </a:xfrm>
          <a:prstGeom prst="rect">
            <a:avLst/>
          </a:prstGeom>
          <a:ln>
            <a:noFill/>
          </a:ln>
        </p:spPr>
        <p:txBody>
          <a:bodyPr numCol="2"/>
          <a:lstStyle>
            <a:lvl1pPr marL="0" indent="0">
              <a:buNone/>
              <a:defRPr sz="12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pic>
        <p:nvPicPr>
          <p:cNvPr id="9" name="Picture 8">
            <a:extLst>
              <a:ext uri="{FF2B5EF4-FFF2-40B4-BE49-F238E27FC236}">
                <a16:creationId xmlns:a16="http://schemas.microsoft.com/office/drawing/2014/main" id="{9E0884E4-790D-0849-8A73-02723BA090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6248400"/>
            <a:ext cx="12192000" cy="609600"/>
          </a:xfrm>
          <a:prstGeom prst="rect">
            <a:avLst/>
          </a:prstGeom>
        </p:spPr>
      </p:pic>
    </p:spTree>
    <p:extLst>
      <p:ext uri="{BB962C8B-B14F-4D97-AF65-F5344CB8AC3E}">
        <p14:creationId xmlns:p14="http://schemas.microsoft.com/office/powerpoint/2010/main" val="243069276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_Intro_Copy">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id="{9CE9245F-A54E-6D46-803F-FE1389E58235}"/>
              </a:ext>
            </a:extLst>
          </p:cNvPr>
          <p:cNvSpPr>
            <a:spLocks noGrp="1"/>
          </p:cNvSpPr>
          <p:nvPr>
            <p:ph type="body" sz="quarter" idx="11"/>
          </p:nvPr>
        </p:nvSpPr>
        <p:spPr>
          <a:xfrm>
            <a:off x="497523" y="1863594"/>
            <a:ext cx="4754880" cy="637747"/>
          </a:xfrm>
          <a:prstGeom prst="rect">
            <a:avLst/>
          </a:prstGeom>
          <a:ln>
            <a:noFill/>
          </a:ln>
        </p:spPr>
        <p:txBody>
          <a:bodyPr/>
          <a:lstStyle>
            <a:lvl1pPr marL="0" indent="0">
              <a:buNone/>
              <a:defRPr sz="1400" b="0" i="0">
                <a:solidFill>
                  <a:srgbClr val="FFBF22"/>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
        <p:nvSpPr>
          <p:cNvPr id="8" name="Title 1">
            <a:extLst>
              <a:ext uri="{FF2B5EF4-FFF2-40B4-BE49-F238E27FC236}">
                <a16:creationId xmlns:a16="http://schemas.microsoft.com/office/drawing/2014/main" id="{929765F6-EDB2-2A42-BBCA-10A614DAE0FA}"/>
              </a:ext>
            </a:extLst>
          </p:cNvPr>
          <p:cNvSpPr>
            <a:spLocks noGrp="1"/>
          </p:cNvSpPr>
          <p:nvPr>
            <p:ph type="title"/>
          </p:nvPr>
        </p:nvSpPr>
        <p:spPr>
          <a:xfrm>
            <a:off x="497523" y="780175"/>
            <a:ext cx="11043989" cy="903659"/>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10" name="Text Placeholder 11">
            <a:extLst>
              <a:ext uri="{FF2B5EF4-FFF2-40B4-BE49-F238E27FC236}">
                <a16:creationId xmlns:a16="http://schemas.microsoft.com/office/drawing/2014/main" id="{A677CB7A-1D72-1E45-BBB9-C15092A5C372}"/>
              </a:ext>
            </a:extLst>
          </p:cNvPr>
          <p:cNvSpPr>
            <a:spLocks noGrp="1"/>
          </p:cNvSpPr>
          <p:nvPr>
            <p:ph type="body" sz="quarter" idx="12"/>
          </p:nvPr>
        </p:nvSpPr>
        <p:spPr>
          <a:xfrm>
            <a:off x="497523" y="3291081"/>
            <a:ext cx="8371840" cy="2050789"/>
          </a:xfrm>
          <a:prstGeom prst="rect">
            <a:avLst/>
          </a:prstGeom>
          <a:ln>
            <a:noFill/>
          </a:ln>
        </p:spPr>
        <p:txBody>
          <a:bodyPr numCol="2"/>
          <a:lstStyle>
            <a:lvl1pPr marL="0" indent="0">
              <a:buNone/>
              <a:defRPr sz="12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Tree>
    <p:extLst>
      <p:ext uri="{BB962C8B-B14F-4D97-AF65-F5344CB8AC3E}">
        <p14:creationId xmlns:p14="http://schemas.microsoft.com/office/powerpoint/2010/main" val="221587556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_Intro_Copyx3">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id="{9CE9245F-A54E-6D46-803F-FE1389E58235}"/>
              </a:ext>
            </a:extLst>
          </p:cNvPr>
          <p:cNvSpPr>
            <a:spLocks noGrp="1"/>
          </p:cNvSpPr>
          <p:nvPr>
            <p:ph type="body" sz="quarter" idx="11"/>
          </p:nvPr>
        </p:nvSpPr>
        <p:spPr>
          <a:xfrm>
            <a:off x="592143" y="2496094"/>
            <a:ext cx="3298973" cy="506555"/>
          </a:xfrm>
          <a:prstGeom prst="rect">
            <a:avLst/>
          </a:prstGeom>
          <a:ln>
            <a:noFill/>
          </a:ln>
        </p:spPr>
        <p:txBody>
          <a:bodyPr lIns="0" anchor="b"/>
          <a:lstStyle>
            <a:lvl1pPr marL="0" indent="0">
              <a:buNone/>
              <a:defRPr sz="1400" b="1" i="1">
                <a:solidFill>
                  <a:srgbClr val="E75400"/>
                </a:solidFill>
                <a:latin typeface="Helvetica Neue LT Std 87 Heavy " panose="020B0604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
        <p:nvSpPr>
          <p:cNvPr id="8" name="Title 1">
            <a:extLst>
              <a:ext uri="{FF2B5EF4-FFF2-40B4-BE49-F238E27FC236}">
                <a16:creationId xmlns:a16="http://schemas.microsoft.com/office/drawing/2014/main" id="{929765F6-EDB2-2A42-BBCA-10A614DAE0FA}"/>
              </a:ext>
            </a:extLst>
          </p:cNvPr>
          <p:cNvSpPr>
            <a:spLocks noGrp="1"/>
          </p:cNvSpPr>
          <p:nvPr>
            <p:ph type="title"/>
          </p:nvPr>
        </p:nvSpPr>
        <p:spPr>
          <a:xfrm>
            <a:off x="497523" y="780175"/>
            <a:ext cx="5043199" cy="637747"/>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10" name="Text Placeholder 11">
            <a:extLst>
              <a:ext uri="{FF2B5EF4-FFF2-40B4-BE49-F238E27FC236}">
                <a16:creationId xmlns:a16="http://schemas.microsoft.com/office/drawing/2014/main" id="{A677CB7A-1D72-1E45-BBB9-C15092A5C372}"/>
              </a:ext>
            </a:extLst>
          </p:cNvPr>
          <p:cNvSpPr>
            <a:spLocks noGrp="1"/>
          </p:cNvSpPr>
          <p:nvPr>
            <p:ph type="body" sz="quarter" idx="12"/>
          </p:nvPr>
        </p:nvSpPr>
        <p:spPr>
          <a:xfrm>
            <a:off x="592143" y="3078866"/>
            <a:ext cx="3298973" cy="2050789"/>
          </a:xfrm>
          <a:prstGeom prst="rect">
            <a:avLst/>
          </a:prstGeom>
          <a:ln>
            <a:noFill/>
          </a:ln>
        </p:spPr>
        <p:txBody>
          <a:bodyPr lIns="0" numCol="1"/>
          <a:lstStyle>
            <a:lvl1pPr marL="171450" indent="-171450">
              <a:buFont typeface="Arial" panose="020B0604020202020204" pitchFamily="34" charset="0"/>
              <a:buChar char="•"/>
              <a:defRPr sz="12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
        <p:nvSpPr>
          <p:cNvPr id="7" name="Text Placeholder 11">
            <a:extLst>
              <a:ext uri="{FF2B5EF4-FFF2-40B4-BE49-F238E27FC236}">
                <a16:creationId xmlns:a16="http://schemas.microsoft.com/office/drawing/2014/main" id="{DEA4372F-A8FE-304D-BEEF-9B1F4366F1F7}"/>
              </a:ext>
            </a:extLst>
          </p:cNvPr>
          <p:cNvSpPr>
            <a:spLocks noGrp="1"/>
          </p:cNvSpPr>
          <p:nvPr>
            <p:ph type="body" sz="quarter" idx="13"/>
          </p:nvPr>
        </p:nvSpPr>
        <p:spPr>
          <a:xfrm>
            <a:off x="4446513" y="3078866"/>
            <a:ext cx="3298973" cy="2050789"/>
          </a:xfrm>
          <a:prstGeom prst="rect">
            <a:avLst/>
          </a:prstGeom>
          <a:ln>
            <a:noFill/>
          </a:ln>
        </p:spPr>
        <p:txBody>
          <a:bodyPr lIns="0" numCol="1"/>
          <a:lstStyle>
            <a:lvl1pPr marL="171450" indent="-171450">
              <a:buFont typeface="Arial" panose="020B0604020202020204" pitchFamily="34" charset="0"/>
              <a:buChar char="•"/>
              <a:defRPr sz="12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
        <p:nvSpPr>
          <p:cNvPr id="9" name="Text Placeholder 11">
            <a:extLst>
              <a:ext uri="{FF2B5EF4-FFF2-40B4-BE49-F238E27FC236}">
                <a16:creationId xmlns:a16="http://schemas.microsoft.com/office/drawing/2014/main" id="{E16F508C-C8C7-E649-9929-A87F4FD3E22F}"/>
              </a:ext>
            </a:extLst>
          </p:cNvPr>
          <p:cNvSpPr>
            <a:spLocks noGrp="1"/>
          </p:cNvSpPr>
          <p:nvPr>
            <p:ph type="body" sz="quarter" idx="14"/>
          </p:nvPr>
        </p:nvSpPr>
        <p:spPr>
          <a:xfrm>
            <a:off x="8300882" y="3078866"/>
            <a:ext cx="3298973" cy="2050789"/>
          </a:xfrm>
          <a:prstGeom prst="rect">
            <a:avLst/>
          </a:prstGeom>
          <a:ln>
            <a:noFill/>
          </a:ln>
        </p:spPr>
        <p:txBody>
          <a:bodyPr lIns="0" numCol="1"/>
          <a:lstStyle>
            <a:lvl1pPr marL="171450" indent="-171450">
              <a:buFont typeface="Arial" panose="020B0604020202020204" pitchFamily="34" charset="0"/>
              <a:buChar char="•"/>
              <a:defRPr sz="12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
        <p:nvSpPr>
          <p:cNvPr id="12" name="Text Placeholder 11">
            <a:extLst>
              <a:ext uri="{FF2B5EF4-FFF2-40B4-BE49-F238E27FC236}">
                <a16:creationId xmlns:a16="http://schemas.microsoft.com/office/drawing/2014/main" id="{B2CF9473-1903-994F-B99C-D29984D129C3}"/>
              </a:ext>
            </a:extLst>
          </p:cNvPr>
          <p:cNvSpPr>
            <a:spLocks noGrp="1"/>
          </p:cNvSpPr>
          <p:nvPr>
            <p:ph type="body" sz="quarter" idx="15"/>
          </p:nvPr>
        </p:nvSpPr>
        <p:spPr>
          <a:xfrm>
            <a:off x="4434938" y="2496094"/>
            <a:ext cx="3298973" cy="506555"/>
          </a:xfrm>
          <a:prstGeom prst="rect">
            <a:avLst/>
          </a:prstGeom>
          <a:ln>
            <a:noFill/>
          </a:ln>
        </p:spPr>
        <p:txBody>
          <a:bodyPr lIns="0" anchor="b"/>
          <a:lstStyle>
            <a:lvl1pPr marL="0" indent="0">
              <a:buNone/>
              <a:defRPr sz="1400" b="1" i="1">
                <a:solidFill>
                  <a:srgbClr val="E75400"/>
                </a:solidFill>
                <a:latin typeface="Helvetica Neue LT Std 87 Heavy " panose="020B0604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
        <p:nvSpPr>
          <p:cNvPr id="13" name="Text Placeholder 11">
            <a:extLst>
              <a:ext uri="{FF2B5EF4-FFF2-40B4-BE49-F238E27FC236}">
                <a16:creationId xmlns:a16="http://schemas.microsoft.com/office/drawing/2014/main" id="{DE8310A5-8F15-B846-BB45-B7B8D709FBE8}"/>
              </a:ext>
            </a:extLst>
          </p:cNvPr>
          <p:cNvSpPr>
            <a:spLocks noGrp="1"/>
          </p:cNvSpPr>
          <p:nvPr>
            <p:ph type="body" sz="quarter" idx="16"/>
          </p:nvPr>
        </p:nvSpPr>
        <p:spPr>
          <a:xfrm>
            <a:off x="8300882" y="2496094"/>
            <a:ext cx="3298973" cy="506555"/>
          </a:xfrm>
          <a:prstGeom prst="rect">
            <a:avLst/>
          </a:prstGeom>
          <a:ln>
            <a:noFill/>
          </a:ln>
        </p:spPr>
        <p:txBody>
          <a:bodyPr lIns="0" anchor="b"/>
          <a:lstStyle>
            <a:lvl1pPr marL="0" indent="0">
              <a:buNone/>
              <a:defRPr sz="1400" b="1" i="1">
                <a:solidFill>
                  <a:srgbClr val="E75400"/>
                </a:solidFill>
                <a:latin typeface="Helvetica Neue LT Std 87 Heavy " panose="020B0604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pic>
        <p:nvPicPr>
          <p:cNvPr id="14" name="Picture 13">
            <a:extLst>
              <a:ext uri="{FF2B5EF4-FFF2-40B4-BE49-F238E27FC236}">
                <a16:creationId xmlns:a16="http://schemas.microsoft.com/office/drawing/2014/main" id="{02A2B536-236F-3243-8EA5-4436DB5B365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6248400"/>
            <a:ext cx="12192000" cy="609600"/>
          </a:xfrm>
          <a:prstGeom prst="rect">
            <a:avLst/>
          </a:prstGeom>
        </p:spPr>
      </p:pic>
    </p:spTree>
    <p:extLst>
      <p:ext uri="{BB962C8B-B14F-4D97-AF65-F5344CB8AC3E}">
        <p14:creationId xmlns:p14="http://schemas.microsoft.com/office/powerpoint/2010/main" val="113370300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ntro_Bullet_Picture">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29765F6-EDB2-2A42-BBCA-10A614DAE0FA}"/>
              </a:ext>
            </a:extLst>
          </p:cNvPr>
          <p:cNvSpPr>
            <a:spLocks noGrp="1"/>
          </p:cNvSpPr>
          <p:nvPr>
            <p:ph type="title"/>
          </p:nvPr>
        </p:nvSpPr>
        <p:spPr>
          <a:xfrm>
            <a:off x="497523" y="780175"/>
            <a:ext cx="5043199" cy="637747"/>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7" name="Text Placeholder 11">
            <a:extLst>
              <a:ext uri="{FF2B5EF4-FFF2-40B4-BE49-F238E27FC236}">
                <a16:creationId xmlns:a16="http://schemas.microsoft.com/office/drawing/2014/main" id="{DEA4372F-A8FE-304D-BEEF-9B1F4366F1F7}"/>
              </a:ext>
            </a:extLst>
          </p:cNvPr>
          <p:cNvSpPr>
            <a:spLocks noGrp="1"/>
          </p:cNvSpPr>
          <p:nvPr>
            <p:ph type="body" sz="quarter" idx="13"/>
          </p:nvPr>
        </p:nvSpPr>
        <p:spPr>
          <a:xfrm>
            <a:off x="509098" y="3758494"/>
            <a:ext cx="4743305" cy="1762631"/>
          </a:xfrm>
          <a:prstGeom prst="rect">
            <a:avLst/>
          </a:prstGeom>
          <a:ln>
            <a:noFill/>
          </a:ln>
        </p:spPr>
        <p:txBody>
          <a:bodyPr lIns="0" numCol="1"/>
          <a:lstStyle>
            <a:lvl1pPr marL="171450" indent="-171450">
              <a:buFont typeface="Arial" panose="020B0604020202020204" pitchFamily="34" charset="0"/>
              <a:buChar char="•"/>
              <a:defRPr sz="12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
        <p:nvSpPr>
          <p:cNvPr id="12" name="Text Placeholder 11">
            <a:extLst>
              <a:ext uri="{FF2B5EF4-FFF2-40B4-BE49-F238E27FC236}">
                <a16:creationId xmlns:a16="http://schemas.microsoft.com/office/drawing/2014/main" id="{B2CF9473-1903-994F-B99C-D29984D129C3}"/>
              </a:ext>
            </a:extLst>
          </p:cNvPr>
          <p:cNvSpPr>
            <a:spLocks noGrp="1"/>
          </p:cNvSpPr>
          <p:nvPr>
            <p:ph type="body" sz="quarter" idx="15"/>
          </p:nvPr>
        </p:nvSpPr>
        <p:spPr>
          <a:xfrm>
            <a:off x="497523" y="3175722"/>
            <a:ext cx="2764515" cy="506555"/>
          </a:xfrm>
          <a:prstGeom prst="rect">
            <a:avLst/>
          </a:prstGeom>
          <a:ln>
            <a:noFill/>
          </a:ln>
        </p:spPr>
        <p:txBody>
          <a:bodyPr lIns="0" anchor="b"/>
          <a:lstStyle>
            <a:lvl1pPr marL="0" indent="0">
              <a:buNone/>
              <a:defRPr sz="1400" b="1" i="1">
                <a:solidFill>
                  <a:srgbClr val="E75400"/>
                </a:solidFill>
                <a:latin typeface="Helvetica Neue LT Std 87 Heavy " panose="020B0604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
        <p:nvSpPr>
          <p:cNvPr id="14" name="Picture Placeholder 8">
            <a:extLst>
              <a:ext uri="{FF2B5EF4-FFF2-40B4-BE49-F238E27FC236}">
                <a16:creationId xmlns:a16="http://schemas.microsoft.com/office/drawing/2014/main" id="{DD16F5DD-B45A-ED4E-8E7E-33263E4BB0FD}"/>
              </a:ext>
            </a:extLst>
          </p:cNvPr>
          <p:cNvSpPr>
            <a:spLocks noGrp="1"/>
          </p:cNvSpPr>
          <p:nvPr>
            <p:ph type="pic" sz="quarter" idx="16"/>
          </p:nvPr>
        </p:nvSpPr>
        <p:spPr>
          <a:xfrm>
            <a:off x="6287075" y="780175"/>
            <a:ext cx="5395827" cy="4740950"/>
          </a:xfrm>
          <a:prstGeom prst="rect">
            <a:avLst/>
          </a:prstGeom>
        </p:spPr>
        <p:txBody>
          <a:bodyPr/>
          <a:lstStyle/>
          <a:p>
            <a:endParaRPr lang="en-US" dirty="0"/>
          </a:p>
        </p:txBody>
      </p:sp>
      <p:sp>
        <p:nvSpPr>
          <p:cNvPr id="16" name="Text Placeholder 11">
            <a:extLst>
              <a:ext uri="{FF2B5EF4-FFF2-40B4-BE49-F238E27FC236}">
                <a16:creationId xmlns:a16="http://schemas.microsoft.com/office/drawing/2014/main" id="{F13ADBC8-7EAF-6F47-94A8-57843CEAD9D0}"/>
              </a:ext>
            </a:extLst>
          </p:cNvPr>
          <p:cNvSpPr>
            <a:spLocks noGrp="1"/>
          </p:cNvSpPr>
          <p:nvPr>
            <p:ph type="body" sz="quarter" idx="17"/>
          </p:nvPr>
        </p:nvSpPr>
        <p:spPr>
          <a:xfrm>
            <a:off x="497523" y="2298492"/>
            <a:ext cx="5043198" cy="637747"/>
          </a:xfrm>
          <a:prstGeom prst="rect">
            <a:avLst/>
          </a:prstGeom>
          <a:ln>
            <a:noFill/>
          </a:ln>
        </p:spPr>
        <p:txBody>
          <a:bodyPr/>
          <a:lstStyle>
            <a:lvl1pPr marL="0" indent="0">
              <a:buNone/>
              <a:defRPr sz="1400" b="0" i="0">
                <a:solidFill>
                  <a:srgbClr val="FFBF22"/>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pic>
        <p:nvPicPr>
          <p:cNvPr id="9" name="Picture 8">
            <a:extLst>
              <a:ext uri="{FF2B5EF4-FFF2-40B4-BE49-F238E27FC236}">
                <a16:creationId xmlns:a16="http://schemas.microsoft.com/office/drawing/2014/main" id="{CEF1F2AE-F16D-334D-BE92-FE5B4774467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6248400"/>
            <a:ext cx="12192000" cy="609600"/>
          </a:xfrm>
          <a:prstGeom prst="rect">
            <a:avLst/>
          </a:prstGeom>
        </p:spPr>
      </p:pic>
    </p:spTree>
    <p:extLst>
      <p:ext uri="{BB962C8B-B14F-4D97-AF65-F5344CB8AC3E}">
        <p14:creationId xmlns:p14="http://schemas.microsoft.com/office/powerpoint/2010/main" val="77889676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29765F6-EDB2-2A42-BBCA-10A614DAE0FA}"/>
              </a:ext>
            </a:extLst>
          </p:cNvPr>
          <p:cNvSpPr>
            <a:spLocks noGrp="1"/>
          </p:cNvSpPr>
          <p:nvPr>
            <p:ph type="title"/>
          </p:nvPr>
        </p:nvSpPr>
        <p:spPr>
          <a:xfrm>
            <a:off x="497523" y="780175"/>
            <a:ext cx="5043199" cy="637747"/>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endParaRPr lang="en-US"/>
          </a:p>
        </p:txBody>
      </p:sp>
      <p:sp>
        <p:nvSpPr>
          <p:cNvPr id="3" name="Table Placeholder 2">
            <a:extLst>
              <a:ext uri="{FF2B5EF4-FFF2-40B4-BE49-F238E27FC236}">
                <a16:creationId xmlns:a16="http://schemas.microsoft.com/office/drawing/2014/main" id="{2BDEBFE9-838E-194F-A633-0E7ABCE7BD1D}"/>
              </a:ext>
            </a:extLst>
          </p:cNvPr>
          <p:cNvSpPr>
            <a:spLocks noGrp="1"/>
          </p:cNvSpPr>
          <p:nvPr>
            <p:ph type="tbl" sz="quarter" idx="10"/>
          </p:nvPr>
        </p:nvSpPr>
        <p:spPr>
          <a:xfrm>
            <a:off x="496888" y="1555750"/>
            <a:ext cx="11064875" cy="3983038"/>
          </a:xfrm>
          <a:prstGeom prst="rect">
            <a:avLst/>
          </a:prstGeom>
          <a:noFill/>
        </p:spPr>
        <p:txBody>
          <a:bodyPr/>
          <a:lstStyle/>
          <a:p>
            <a:endParaRPr lang="en-US" dirty="0"/>
          </a:p>
        </p:txBody>
      </p:sp>
      <p:pic>
        <p:nvPicPr>
          <p:cNvPr id="5" name="Picture 4">
            <a:extLst>
              <a:ext uri="{FF2B5EF4-FFF2-40B4-BE49-F238E27FC236}">
                <a16:creationId xmlns:a16="http://schemas.microsoft.com/office/drawing/2014/main" id="{66C6C745-44D8-1B43-841E-546B305709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6248400"/>
            <a:ext cx="12192000" cy="609600"/>
          </a:xfrm>
          <a:prstGeom prst="rect">
            <a:avLst/>
          </a:prstGeom>
        </p:spPr>
      </p:pic>
    </p:spTree>
    <p:extLst>
      <p:ext uri="{BB962C8B-B14F-4D97-AF65-F5344CB8AC3E}">
        <p14:creationId xmlns:p14="http://schemas.microsoft.com/office/powerpoint/2010/main" val="397866407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SmartArt - Timeline">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29765F6-EDB2-2A42-BBCA-10A614DAE0FA}"/>
              </a:ext>
            </a:extLst>
          </p:cNvPr>
          <p:cNvSpPr>
            <a:spLocks noGrp="1"/>
          </p:cNvSpPr>
          <p:nvPr>
            <p:ph type="title"/>
          </p:nvPr>
        </p:nvSpPr>
        <p:spPr>
          <a:xfrm>
            <a:off x="497523" y="780175"/>
            <a:ext cx="5043199" cy="637747"/>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endParaRPr lang="en-US"/>
          </a:p>
        </p:txBody>
      </p:sp>
      <p:pic>
        <p:nvPicPr>
          <p:cNvPr id="5" name="Picture 4">
            <a:extLst>
              <a:ext uri="{FF2B5EF4-FFF2-40B4-BE49-F238E27FC236}">
                <a16:creationId xmlns:a16="http://schemas.microsoft.com/office/drawing/2014/main" id="{66C6C745-44D8-1B43-841E-546B305709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6248400"/>
            <a:ext cx="12192000" cy="609600"/>
          </a:xfrm>
          <a:prstGeom prst="rect">
            <a:avLst/>
          </a:prstGeom>
        </p:spPr>
      </p:pic>
      <p:sp>
        <p:nvSpPr>
          <p:cNvPr id="4" name="SmartArt Placeholder 3">
            <a:extLst>
              <a:ext uri="{FF2B5EF4-FFF2-40B4-BE49-F238E27FC236}">
                <a16:creationId xmlns:a16="http://schemas.microsoft.com/office/drawing/2014/main" id="{38D9C6C5-DE52-D147-ACCA-7392BF61B517}"/>
              </a:ext>
            </a:extLst>
          </p:cNvPr>
          <p:cNvSpPr>
            <a:spLocks noGrp="1"/>
          </p:cNvSpPr>
          <p:nvPr>
            <p:ph type="dgm" sz="quarter" idx="11"/>
          </p:nvPr>
        </p:nvSpPr>
        <p:spPr>
          <a:xfrm>
            <a:off x="497523" y="1437480"/>
            <a:ext cx="11064875" cy="4440805"/>
          </a:xfrm>
          <a:prstGeom prst="rect">
            <a:avLst/>
          </a:prstGeom>
        </p:spPr>
        <p:txBody>
          <a:bodyPr/>
          <a:lstStyle/>
          <a:p>
            <a:endParaRPr lang="en-GB" dirty="0"/>
          </a:p>
        </p:txBody>
      </p:sp>
    </p:spTree>
    <p:extLst>
      <p:ext uri="{BB962C8B-B14F-4D97-AF65-F5344CB8AC3E}">
        <p14:creationId xmlns:p14="http://schemas.microsoft.com/office/powerpoint/2010/main" val="353610107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_2ColCopy">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97B6A48-DC40-E440-8A19-26BB129D6623}"/>
              </a:ext>
            </a:extLst>
          </p:cNvPr>
          <p:cNvSpPr>
            <a:spLocks noGrp="1"/>
          </p:cNvSpPr>
          <p:nvPr>
            <p:ph type="title"/>
          </p:nvPr>
        </p:nvSpPr>
        <p:spPr>
          <a:xfrm>
            <a:off x="497523" y="780175"/>
            <a:ext cx="11099745" cy="637747"/>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7" name="Text Placeholder 11">
            <a:extLst>
              <a:ext uri="{FF2B5EF4-FFF2-40B4-BE49-F238E27FC236}">
                <a16:creationId xmlns:a16="http://schemas.microsoft.com/office/drawing/2014/main" id="{CF042509-A226-C344-A6BB-C999500CA23C}"/>
              </a:ext>
            </a:extLst>
          </p:cNvPr>
          <p:cNvSpPr>
            <a:spLocks noGrp="1"/>
          </p:cNvSpPr>
          <p:nvPr>
            <p:ph type="body" sz="quarter" idx="12"/>
          </p:nvPr>
        </p:nvSpPr>
        <p:spPr>
          <a:xfrm>
            <a:off x="497522" y="1572322"/>
            <a:ext cx="11099745" cy="3674154"/>
          </a:xfrm>
          <a:prstGeom prst="rect">
            <a:avLst/>
          </a:prstGeom>
          <a:ln>
            <a:noFill/>
          </a:ln>
        </p:spPr>
        <p:txBody>
          <a:bodyPr numCol="2"/>
          <a:lstStyle>
            <a:lvl1pPr marL="0" indent="0">
              <a:buNone/>
              <a:defRPr sz="1200" b="0" i="0">
                <a:solidFill>
                  <a:srgbClr val="20201E"/>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pic>
        <p:nvPicPr>
          <p:cNvPr id="6" name="Picture 5">
            <a:extLst>
              <a:ext uri="{FF2B5EF4-FFF2-40B4-BE49-F238E27FC236}">
                <a16:creationId xmlns:a16="http://schemas.microsoft.com/office/drawing/2014/main" id="{071BAFEB-D91F-3A4F-A0E0-FE66512EF0C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6248400"/>
            <a:ext cx="12192000" cy="609600"/>
          </a:xfrm>
          <a:prstGeom prst="rect">
            <a:avLst/>
          </a:prstGeom>
        </p:spPr>
      </p:pic>
    </p:spTree>
    <p:extLst>
      <p:ext uri="{BB962C8B-B14F-4D97-AF65-F5344CB8AC3E}">
        <p14:creationId xmlns:p14="http://schemas.microsoft.com/office/powerpoint/2010/main" val="2900129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28699B13-3C3C-E843-9056-43C49BFD6686}"/>
              </a:ext>
            </a:extLst>
          </p:cNvPr>
          <p:cNvSpPr>
            <a:spLocks noGrp="1"/>
          </p:cNvSpPr>
          <p:nvPr>
            <p:ph type="title"/>
          </p:nvPr>
        </p:nvSpPr>
        <p:spPr>
          <a:xfrm>
            <a:off x="517629" y="487300"/>
            <a:ext cx="4735091" cy="1369209"/>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dirty="0"/>
              <a:t>Click to edit Master title style</a:t>
            </a:r>
            <a:endParaRPr lang="en-US" dirty="0"/>
          </a:p>
        </p:txBody>
      </p:sp>
      <p:pic>
        <p:nvPicPr>
          <p:cNvPr id="17" name="Picture 16" descr="A picture containing indoor, shelf, sitting, book&#10;&#10;Description automatically generated">
            <a:extLst>
              <a:ext uri="{FF2B5EF4-FFF2-40B4-BE49-F238E27FC236}">
                <a16:creationId xmlns:a16="http://schemas.microsoft.com/office/drawing/2014/main" id="{A6DFB6EE-17A2-A541-BF74-02235A207D07}"/>
              </a:ext>
            </a:extLst>
          </p:cNvPr>
          <p:cNvPicPr>
            <a:picLocks noChangeAspect="1"/>
          </p:cNvPicPr>
          <p:nvPr/>
        </p:nvPicPr>
        <p:blipFill rotWithShape="1">
          <a:blip r:embed="rId2"/>
          <a:srcRect t="50000" b="16364"/>
          <a:stretch/>
        </p:blipFill>
        <p:spPr>
          <a:xfrm>
            <a:off x="0" y="3429000"/>
            <a:ext cx="12192000" cy="2306782"/>
          </a:xfrm>
          <a:prstGeom prst="rect">
            <a:avLst/>
          </a:prstGeom>
        </p:spPr>
      </p:pic>
      <p:pic>
        <p:nvPicPr>
          <p:cNvPr id="5" name="Picture 4">
            <a:extLst>
              <a:ext uri="{FF2B5EF4-FFF2-40B4-BE49-F238E27FC236}">
                <a16:creationId xmlns:a16="http://schemas.microsoft.com/office/drawing/2014/main" id="{D9903181-6847-FE45-9CA1-F3DB5B1861D8}"/>
              </a:ext>
            </a:extLst>
          </p:cNvPr>
          <p:cNvPicPr>
            <a:picLocks noChangeAspect="1"/>
          </p:cNvPicPr>
          <p:nvPr/>
        </p:nvPicPr>
        <p:blipFill>
          <a:blip r:embed="rId3"/>
          <a:stretch>
            <a:fillRect/>
          </a:stretch>
        </p:blipFill>
        <p:spPr>
          <a:xfrm>
            <a:off x="0" y="5816600"/>
            <a:ext cx="12192000" cy="1041400"/>
          </a:xfrm>
          <a:prstGeom prst="rect">
            <a:avLst/>
          </a:prstGeom>
        </p:spPr>
      </p:pic>
    </p:spTree>
    <p:extLst>
      <p:ext uri="{BB962C8B-B14F-4D97-AF65-F5344CB8AC3E}">
        <p14:creationId xmlns:p14="http://schemas.microsoft.com/office/powerpoint/2010/main" val="267030830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nimation Placehold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97B6A48-DC40-E440-8A19-26BB129D6623}"/>
              </a:ext>
            </a:extLst>
          </p:cNvPr>
          <p:cNvSpPr>
            <a:spLocks noGrp="1"/>
          </p:cNvSpPr>
          <p:nvPr>
            <p:ph type="title" hasCustomPrompt="1"/>
          </p:nvPr>
        </p:nvSpPr>
        <p:spPr>
          <a:xfrm>
            <a:off x="639066" y="368728"/>
            <a:ext cx="5043199" cy="637747"/>
          </a:xfrm>
          <a:prstGeom prst="rect">
            <a:avLst/>
          </a:prstGeom>
        </p:spPr>
        <p:txBody>
          <a:bodyPr anchor="t"/>
          <a:lstStyle>
            <a:lvl1pPr>
              <a:defRPr sz="20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a:t>Click to edit title</a:t>
            </a:r>
            <a:endParaRPr lang="en-US"/>
          </a:p>
        </p:txBody>
      </p:sp>
      <p:sp>
        <p:nvSpPr>
          <p:cNvPr id="7" name="Text Placeholder 11">
            <a:extLst>
              <a:ext uri="{FF2B5EF4-FFF2-40B4-BE49-F238E27FC236}">
                <a16:creationId xmlns:a16="http://schemas.microsoft.com/office/drawing/2014/main" id="{CF042509-A226-C344-A6BB-C999500CA23C}"/>
              </a:ext>
            </a:extLst>
          </p:cNvPr>
          <p:cNvSpPr>
            <a:spLocks noGrp="1"/>
          </p:cNvSpPr>
          <p:nvPr>
            <p:ph type="body" sz="quarter" idx="12"/>
          </p:nvPr>
        </p:nvSpPr>
        <p:spPr>
          <a:xfrm>
            <a:off x="639066" y="1143000"/>
            <a:ext cx="2553170" cy="4400550"/>
          </a:xfrm>
          <a:prstGeom prst="rect">
            <a:avLst/>
          </a:prstGeom>
          <a:ln>
            <a:noFill/>
          </a:ln>
        </p:spPr>
        <p:txBody>
          <a:bodyPr numCol="1"/>
          <a:lstStyle>
            <a:lvl1pPr marL="0" indent="0">
              <a:buNone/>
              <a:defRPr sz="1200" b="0" i="0">
                <a:solidFill>
                  <a:schemeClr val="tx1">
                    <a:lumMod val="65000"/>
                    <a:lumOff val="35000"/>
                  </a:schemeClr>
                </a:solidFill>
                <a:latin typeface="Helvetica Neue Light" pitchFamily="2"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
        <p:nvSpPr>
          <p:cNvPr id="8" name="Media Placeholder 7">
            <a:extLst>
              <a:ext uri="{FF2B5EF4-FFF2-40B4-BE49-F238E27FC236}">
                <a16:creationId xmlns:a16="http://schemas.microsoft.com/office/drawing/2014/main" id="{79C68202-A54E-6A4D-B1AC-DE71B357A6EC}"/>
              </a:ext>
            </a:extLst>
          </p:cNvPr>
          <p:cNvSpPr>
            <a:spLocks noGrp="1"/>
          </p:cNvSpPr>
          <p:nvPr>
            <p:ph type="media" sz="quarter" idx="13"/>
          </p:nvPr>
        </p:nvSpPr>
        <p:spPr>
          <a:xfrm>
            <a:off x="3657600" y="1143000"/>
            <a:ext cx="7821613" cy="4400550"/>
          </a:xfrm>
          <a:prstGeom prst="rect">
            <a:avLst/>
          </a:prstGeom>
        </p:spPr>
        <p:txBody>
          <a:bodyPr/>
          <a:lstStyle/>
          <a:p>
            <a:endParaRPr lang="en-US" dirty="0"/>
          </a:p>
        </p:txBody>
      </p:sp>
      <p:pic>
        <p:nvPicPr>
          <p:cNvPr id="6" name="Picture 5">
            <a:extLst>
              <a:ext uri="{FF2B5EF4-FFF2-40B4-BE49-F238E27FC236}">
                <a16:creationId xmlns:a16="http://schemas.microsoft.com/office/drawing/2014/main" id="{719EF13E-F668-A44D-9AA6-5C56CA0C4E7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6248400"/>
            <a:ext cx="12192000" cy="609600"/>
          </a:xfrm>
          <a:prstGeom prst="rect">
            <a:avLst/>
          </a:prstGeom>
        </p:spPr>
      </p:pic>
    </p:spTree>
    <p:extLst>
      <p:ext uri="{BB962C8B-B14F-4D97-AF65-F5344CB8AC3E}">
        <p14:creationId xmlns:p14="http://schemas.microsoft.com/office/powerpoint/2010/main" val="90170366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Animation Placeholder">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CB0CA34-0058-9047-AA94-D2A25CB49EF4}"/>
              </a:ext>
            </a:extLst>
          </p:cNvPr>
          <p:cNvSpPr>
            <a:spLocks noGrp="1"/>
          </p:cNvSpPr>
          <p:nvPr>
            <p:ph type="pic" sz="quarter" idx="14"/>
          </p:nvPr>
        </p:nvSpPr>
        <p:spPr>
          <a:xfrm>
            <a:off x="3657600" y="1143000"/>
            <a:ext cx="7821613" cy="4400550"/>
          </a:xfrm>
          <a:prstGeom prst="rect">
            <a:avLst/>
          </a:prstGeom>
        </p:spPr>
        <p:txBody>
          <a:bodyPr/>
          <a:lstStyle/>
          <a:p>
            <a:endParaRPr lang="en-US" dirty="0"/>
          </a:p>
        </p:txBody>
      </p:sp>
      <p:sp>
        <p:nvSpPr>
          <p:cNvPr id="5" name="Title 1">
            <a:extLst>
              <a:ext uri="{FF2B5EF4-FFF2-40B4-BE49-F238E27FC236}">
                <a16:creationId xmlns:a16="http://schemas.microsoft.com/office/drawing/2014/main" id="{A97B6A48-DC40-E440-8A19-26BB129D6623}"/>
              </a:ext>
            </a:extLst>
          </p:cNvPr>
          <p:cNvSpPr>
            <a:spLocks noGrp="1"/>
          </p:cNvSpPr>
          <p:nvPr>
            <p:ph type="title" hasCustomPrompt="1"/>
          </p:nvPr>
        </p:nvSpPr>
        <p:spPr>
          <a:xfrm>
            <a:off x="639066" y="368728"/>
            <a:ext cx="5043199" cy="637747"/>
          </a:xfrm>
          <a:prstGeom prst="rect">
            <a:avLst/>
          </a:prstGeom>
        </p:spPr>
        <p:txBody>
          <a:bodyPr anchor="t"/>
          <a:lstStyle>
            <a:lvl1pPr>
              <a:defRPr sz="20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a:t>Click to edit title</a:t>
            </a:r>
            <a:endParaRPr lang="en-US"/>
          </a:p>
        </p:txBody>
      </p:sp>
      <p:sp>
        <p:nvSpPr>
          <p:cNvPr id="7" name="Text Placeholder 11">
            <a:extLst>
              <a:ext uri="{FF2B5EF4-FFF2-40B4-BE49-F238E27FC236}">
                <a16:creationId xmlns:a16="http://schemas.microsoft.com/office/drawing/2014/main" id="{CF042509-A226-C344-A6BB-C999500CA23C}"/>
              </a:ext>
            </a:extLst>
          </p:cNvPr>
          <p:cNvSpPr>
            <a:spLocks noGrp="1"/>
          </p:cNvSpPr>
          <p:nvPr>
            <p:ph type="body" sz="quarter" idx="12"/>
          </p:nvPr>
        </p:nvSpPr>
        <p:spPr>
          <a:xfrm>
            <a:off x="639066" y="1143000"/>
            <a:ext cx="2553170" cy="4400550"/>
          </a:xfrm>
          <a:prstGeom prst="rect">
            <a:avLst/>
          </a:prstGeom>
          <a:ln>
            <a:noFill/>
          </a:ln>
        </p:spPr>
        <p:txBody>
          <a:bodyPr numCol="1"/>
          <a:lstStyle>
            <a:lvl1pPr marL="0" indent="0">
              <a:buNone/>
              <a:defRPr sz="1200" b="0" i="0">
                <a:solidFill>
                  <a:schemeClr val="tx1">
                    <a:lumMod val="65000"/>
                    <a:lumOff val="35000"/>
                  </a:schemeClr>
                </a:solidFill>
                <a:latin typeface="Helvetica Neue Light" pitchFamily="2"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pic>
        <p:nvPicPr>
          <p:cNvPr id="6" name="Picture 5">
            <a:extLst>
              <a:ext uri="{FF2B5EF4-FFF2-40B4-BE49-F238E27FC236}">
                <a16:creationId xmlns:a16="http://schemas.microsoft.com/office/drawing/2014/main" id="{F978B2CD-D59C-5F4F-997D-1D4C2E1CF0F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6248400"/>
            <a:ext cx="12192000" cy="609600"/>
          </a:xfrm>
          <a:prstGeom prst="rect">
            <a:avLst/>
          </a:prstGeom>
        </p:spPr>
      </p:pic>
    </p:spTree>
    <p:extLst>
      <p:ext uri="{BB962C8B-B14F-4D97-AF65-F5344CB8AC3E}">
        <p14:creationId xmlns:p14="http://schemas.microsoft.com/office/powerpoint/2010/main" val="74802304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_2ColCopy">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97B6A48-DC40-E440-8A19-26BB129D6623}"/>
              </a:ext>
            </a:extLst>
          </p:cNvPr>
          <p:cNvSpPr>
            <a:spLocks noGrp="1"/>
          </p:cNvSpPr>
          <p:nvPr>
            <p:ph type="title"/>
          </p:nvPr>
        </p:nvSpPr>
        <p:spPr>
          <a:xfrm>
            <a:off x="497523" y="780175"/>
            <a:ext cx="5043199" cy="637747"/>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7" name="Text Placeholder 11">
            <a:extLst>
              <a:ext uri="{FF2B5EF4-FFF2-40B4-BE49-F238E27FC236}">
                <a16:creationId xmlns:a16="http://schemas.microsoft.com/office/drawing/2014/main" id="{CF042509-A226-C344-A6BB-C999500CA23C}"/>
              </a:ext>
            </a:extLst>
          </p:cNvPr>
          <p:cNvSpPr>
            <a:spLocks noGrp="1"/>
          </p:cNvSpPr>
          <p:nvPr>
            <p:ph type="body" sz="quarter" idx="12"/>
          </p:nvPr>
        </p:nvSpPr>
        <p:spPr>
          <a:xfrm>
            <a:off x="497523" y="2292248"/>
            <a:ext cx="8371840" cy="2954228"/>
          </a:xfrm>
          <a:prstGeom prst="rect">
            <a:avLst/>
          </a:prstGeom>
          <a:ln>
            <a:noFill/>
          </a:ln>
        </p:spPr>
        <p:txBody>
          <a:bodyPr numCol="2"/>
          <a:lstStyle>
            <a:lvl1pPr marL="0" indent="0">
              <a:buNone/>
              <a:defRPr sz="12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Tree>
    <p:extLst>
      <p:ext uri="{BB962C8B-B14F-4D97-AF65-F5344CB8AC3E}">
        <p14:creationId xmlns:p14="http://schemas.microsoft.com/office/powerpoint/2010/main" val="395676813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YellowBG_4Col_Copy">
    <p:bg>
      <p:bgPr>
        <a:solidFill>
          <a:srgbClr val="FFCE2C"/>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97B6A48-DC40-E440-8A19-26BB129D6623}"/>
              </a:ext>
            </a:extLst>
          </p:cNvPr>
          <p:cNvSpPr>
            <a:spLocks noGrp="1"/>
          </p:cNvSpPr>
          <p:nvPr>
            <p:ph type="title"/>
          </p:nvPr>
        </p:nvSpPr>
        <p:spPr>
          <a:xfrm>
            <a:off x="1805585" y="780175"/>
            <a:ext cx="5043199" cy="637747"/>
          </a:xfrm>
          <a:prstGeom prst="rect">
            <a:avLst/>
          </a:prstGeom>
        </p:spPr>
        <p:txBody>
          <a:bodyPr anchor="t"/>
          <a:lstStyle>
            <a:lvl1pPr>
              <a:defRPr sz="4400" b="0" i="0">
                <a:solidFill>
                  <a:schemeClr val="bg1"/>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7" name="Text Placeholder 11">
            <a:extLst>
              <a:ext uri="{FF2B5EF4-FFF2-40B4-BE49-F238E27FC236}">
                <a16:creationId xmlns:a16="http://schemas.microsoft.com/office/drawing/2014/main" id="{CF042509-A226-C344-A6BB-C999500CA23C}"/>
              </a:ext>
            </a:extLst>
          </p:cNvPr>
          <p:cNvSpPr>
            <a:spLocks noGrp="1"/>
          </p:cNvSpPr>
          <p:nvPr>
            <p:ph type="body" sz="quarter" idx="12"/>
          </p:nvPr>
        </p:nvSpPr>
        <p:spPr>
          <a:xfrm>
            <a:off x="731520" y="3141703"/>
            <a:ext cx="10769600" cy="424458"/>
          </a:xfrm>
          <a:prstGeom prst="rect">
            <a:avLst/>
          </a:prstGeom>
          <a:ln>
            <a:noFill/>
          </a:ln>
        </p:spPr>
        <p:txBody>
          <a:bodyPr numCol="5" spcCol="180000"/>
          <a:lstStyle>
            <a:lvl1pPr marL="0" indent="0">
              <a:buNone/>
              <a:defRPr sz="1200" b="0" i="0">
                <a:solidFill>
                  <a:schemeClr val="bg1"/>
                </a:solidFill>
                <a:latin typeface="Helvetica Neue LT Std 65 Medium" panose="020B0604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
        <p:nvSpPr>
          <p:cNvPr id="9" name="Picture Placeholder 8">
            <a:extLst>
              <a:ext uri="{FF2B5EF4-FFF2-40B4-BE49-F238E27FC236}">
                <a16:creationId xmlns:a16="http://schemas.microsoft.com/office/drawing/2014/main" id="{54BF29C9-0436-134E-A264-725F95AE9671}"/>
              </a:ext>
            </a:extLst>
          </p:cNvPr>
          <p:cNvSpPr>
            <a:spLocks noGrp="1"/>
          </p:cNvSpPr>
          <p:nvPr>
            <p:ph type="pic" sz="quarter" idx="13"/>
          </p:nvPr>
        </p:nvSpPr>
        <p:spPr>
          <a:xfrm>
            <a:off x="497523" y="779780"/>
            <a:ext cx="1147762" cy="1147763"/>
          </a:xfrm>
          <a:prstGeom prst="rect">
            <a:avLst/>
          </a:prstGeom>
        </p:spPr>
        <p:txBody>
          <a:bodyPr/>
          <a:lstStyle/>
          <a:p>
            <a:endParaRPr lang="en-US" dirty="0"/>
          </a:p>
        </p:txBody>
      </p:sp>
      <p:sp>
        <p:nvSpPr>
          <p:cNvPr id="8" name="Text Placeholder 11">
            <a:extLst>
              <a:ext uri="{FF2B5EF4-FFF2-40B4-BE49-F238E27FC236}">
                <a16:creationId xmlns:a16="http://schemas.microsoft.com/office/drawing/2014/main" id="{A06DA923-E6F8-0C40-AB87-1C790FDFB57B}"/>
              </a:ext>
            </a:extLst>
          </p:cNvPr>
          <p:cNvSpPr>
            <a:spLocks noGrp="1"/>
          </p:cNvSpPr>
          <p:nvPr>
            <p:ph type="body" sz="quarter" idx="14"/>
          </p:nvPr>
        </p:nvSpPr>
        <p:spPr>
          <a:xfrm>
            <a:off x="731520" y="3613316"/>
            <a:ext cx="10769600" cy="1161287"/>
          </a:xfrm>
          <a:prstGeom prst="rect">
            <a:avLst/>
          </a:prstGeom>
          <a:ln>
            <a:noFill/>
          </a:ln>
        </p:spPr>
        <p:txBody>
          <a:bodyPr numCol="5" spcCol="180000"/>
          <a:lstStyle>
            <a:lvl1pPr marL="0" indent="0">
              <a:buNone/>
              <a:defRPr sz="1200" b="0" i="0">
                <a:solidFill>
                  <a:schemeClr val="bg1"/>
                </a:solidFill>
                <a:latin typeface="Helvetica Neue LT Std 55 Roman" panose="020B0604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pic>
        <p:nvPicPr>
          <p:cNvPr id="12" name="Picture 11">
            <a:extLst>
              <a:ext uri="{FF2B5EF4-FFF2-40B4-BE49-F238E27FC236}">
                <a16:creationId xmlns:a16="http://schemas.microsoft.com/office/drawing/2014/main" id="{8DC90A15-43F4-434E-B610-95865C3630C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6248400"/>
            <a:ext cx="12192000" cy="609600"/>
          </a:xfrm>
          <a:prstGeom prst="rect">
            <a:avLst/>
          </a:prstGeom>
        </p:spPr>
      </p:pic>
    </p:spTree>
    <p:extLst>
      <p:ext uri="{BB962C8B-B14F-4D97-AF65-F5344CB8AC3E}">
        <p14:creationId xmlns:p14="http://schemas.microsoft.com/office/powerpoint/2010/main" val="28613141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2_column">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15F6C26-F6B7-524C-A2DE-8D5D05800874}"/>
              </a:ext>
            </a:extLst>
          </p:cNvPr>
          <p:cNvSpPr>
            <a:spLocks noGrp="1"/>
          </p:cNvSpPr>
          <p:nvPr>
            <p:ph type="title"/>
          </p:nvPr>
        </p:nvSpPr>
        <p:spPr>
          <a:xfrm>
            <a:off x="627025" y="560117"/>
            <a:ext cx="5043199" cy="637747"/>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5" name="Text Placeholder 11">
            <a:extLst>
              <a:ext uri="{FF2B5EF4-FFF2-40B4-BE49-F238E27FC236}">
                <a16:creationId xmlns:a16="http://schemas.microsoft.com/office/drawing/2014/main" id="{96A35149-E325-934F-831D-58E063CAB1F5}"/>
              </a:ext>
            </a:extLst>
          </p:cNvPr>
          <p:cNvSpPr>
            <a:spLocks noGrp="1"/>
          </p:cNvSpPr>
          <p:nvPr>
            <p:ph type="body" sz="quarter" idx="12"/>
          </p:nvPr>
        </p:nvSpPr>
        <p:spPr>
          <a:xfrm>
            <a:off x="627025" y="2123440"/>
            <a:ext cx="6738975" cy="3454400"/>
          </a:xfrm>
          <a:prstGeom prst="rect">
            <a:avLst/>
          </a:prstGeom>
          <a:ln>
            <a:noFill/>
          </a:ln>
        </p:spPr>
        <p:txBody>
          <a:bodyPr numCol="2"/>
          <a:lstStyle>
            <a:lvl1pPr marL="0" indent="0">
              <a:buNone/>
              <a:defRPr sz="12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pic>
        <p:nvPicPr>
          <p:cNvPr id="7" name="Picture 6">
            <a:extLst>
              <a:ext uri="{FF2B5EF4-FFF2-40B4-BE49-F238E27FC236}">
                <a16:creationId xmlns:a16="http://schemas.microsoft.com/office/drawing/2014/main" id="{A7A25618-713B-ED41-9861-A24288A5C9C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6248400"/>
            <a:ext cx="12192000" cy="609600"/>
          </a:xfrm>
          <a:prstGeom prst="rect">
            <a:avLst/>
          </a:prstGeom>
        </p:spPr>
      </p:pic>
    </p:spTree>
    <p:extLst>
      <p:ext uri="{BB962C8B-B14F-4D97-AF65-F5344CB8AC3E}">
        <p14:creationId xmlns:p14="http://schemas.microsoft.com/office/powerpoint/2010/main" val="158779923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object 6">
            <a:extLst>
              <a:ext uri="{FF2B5EF4-FFF2-40B4-BE49-F238E27FC236}">
                <a16:creationId xmlns:a16="http://schemas.microsoft.com/office/drawing/2014/main" id="{F74AEC0D-EADD-DE4F-AD46-CFF19F8A58D2}"/>
              </a:ext>
            </a:extLst>
          </p:cNvPr>
          <p:cNvSpPr/>
          <p:nvPr userDrawn="1"/>
        </p:nvSpPr>
        <p:spPr>
          <a:xfrm>
            <a:off x="6168836" y="4962021"/>
            <a:ext cx="2643733" cy="799827"/>
          </a:xfrm>
          <a:custGeom>
            <a:avLst/>
            <a:gdLst/>
            <a:ahLst/>
            <a:cxnLst/>
            <a:rect l="l" t="t" r="r" b="b"/>
            <a:pathLst>
              <a:path w="3278504" h="991870">
                <a:moveTo>
                  <a:pt x="3278251" y="0"/>
                </a:moveTo>
                <a:lnTo>
                  <a:pt x="0" y="0"/>
                </a:lnTo>
                <a:lnTo>
                  <a:pt x="0" y="991704"/>
                </a:lnTo>
                <a:lnTo>
                  <a:pt x="1759381" y="991704"/>
                </a:lnTo>
                <a:lnTo>
                  <a:pt x="1809072" y="988883"/>
                </a:lnTo>
                <a:lnTo>
                  <a:pt x="1857740" y="980540"/>
                </a:lnTo>
                <a:lnTo>
                  <a:pt x="1904950" y="966856"/>
                </a:lnTo>
                <a:lnTo>
                  <a:pt x="1950268" y="948010"/>
                </a:lnTo>
                <a:lnTo>
                  <a:pt x="1993260" y="924185"/>
                </a:lnTo>
                <a:lnTo>
                  <a:pt x="2033493" y="895560"/>
                </a:lnTo>
                <a:lnTo>
                  <a:pt x="2070531" y="862317"/>
                </a:lnTo>
                <a:lnTo>
                  <a:pt x="2379459" y="551700"/>
                </a:lnTo>
                <a:lnTo>
                  <a:pt x="2416501" y="518457"/>
                </a:lnTo>
                <a:lnTo>
                  <a:pt x="2456736" y="489834"/>
                </a:lnTo>
                <a:lnTo>
                  <a:pt x="2499728" y="466012"/>
                </a:lnTo>
                <a:lnTo>
                  <a:pt x="2545045" y="447169"/>
                </a:lnTo>
                <a:lnTo>
                  <a:pt x="2592253" y="433487"/>
                </a:lnTo>
                <a:lnTo>
                  <a:pt x="2640919" y="425146"/>
                </a:lnTo>
                <a:lnTo>
                  <a:pt x="2690609" y="422325"/>
                </a:lnTo>
                <a:lnTo>
                  <a:pt x="3278251" y="422325"/>
                </a:lnTo>
                <a:lnTo>
                  <a:pt x="3278251" y="0"/>
                </a:lnTo>
                <a:close/>
              </a:path>
            </a:pathLst>
          </a:custGeom>
          <a:solidFill>
            <a:srgbClr val="0079C1"/>
          </a:solidFill>
        </p:spPr>
        <p:txBody>
          <a:bodyPr wrap="square" lIns="0" tIns="0" rIns="0" bIns="0" rtlCol="0"/>
          <a:lstStyle/>
          <a:p>
            <a:pPr defTabSz="368686"/>
            <a:endParaRPr sz="1452" dirty="0">
              <a:solidFill>
                <a:srgbClr val="0079C1"/>
              </a:solidFill>
              <a:latin typeface="Calibri" panose="020F0502020204030204"/>
            </a:endParaRPr>
          </a:p>
        </p:txBody>
      </p:sp>
      <p:sp>
        <p:nvSpPr>
          <p:cNvPr id="4" name="object 7">
            <a:extLst>
              <a:ext uri="{FF2B5EF4-FFF2-40B4-BE49-F238E27FC236}">
                <a16:creationId xmlns:a16="http://schemas.microsoft.com/office/drawing/2014/main" id="{24BA2B66-2CA1-364E-9811-5B7B8DAC180B}"/>
              </a:ext>
            </a:extLst>
          </p:cNvPr>
          <p:cNvSpPr txBox="1"/>
          <p:nvPr userDrawn="1"/>
        </p:nvSpPr>
        <p:spPr>
          <a:xfrm>
            <a:off x="6274715" y="5012580"/>
            <a:ext cx="947812" cy="368999"/>
          </a:xfrm>
          <a:prstGeom prst="rect">
            <a:avLst/>
          </a:prstGeom>
        </p:spPr>
        <p:txBody>
          <a:bodyPr vert="horz" wrap="square" lIns="0" tIns="22530" rIns="0" bIns="0" rtlCol="0">
            <a:spAutoFit/>
          </a:bodyPr>
          <a:lstStyle/>
          <a:p>
            <a:pPr marL="10241" marR="4097" defTabSz="368686">
              <a:lnSpc>
                <a:spcPts val="887"/>
              </a:lnSpc>
              <a:spcBef>
                <a:spcPts val="177"/>
              </a:spcBef>
            </a:pPr>
            <a:r>
              <a:rPr sz="806" b="1" dirty="0">
                <a:solidFill>
                  <a:srgbClr val="FFFFFF"/>
                </a:solidFill>
                <a:latin typeface="HelveticaNeueLTPro-Blk"/>
                <a:cs typeface="HelveticaNeueLTPro-Blk"/>
              </a:rPr>
              <a:t>PANTONE </a:t>
            </a:r>
            <a:r>
              <a:rPr sz="806" b="1" spc="4" dirty="0">
                <a:solidFill>
                  <a:srgbClr val="FFFFFF"/>
                </a:solidFill>
                <a:latin typeface="HelveticaNeueLTPro-Blk"/>
                <a:cs typeface="HelveticaNeueLTPro-Blk"/>
              </a:rPr>
              <a:t>300  </a:t>
            </a:r>
            <a:r>
              <a:rPr sz="806" b="1" spc="-28" dirty="0">
                <a:solidFill>
                  <a:srgbClr val="FFFFFF"/>
                </a:solidFill>
                <a:latin typeface="HelveticaNeueLTPro-Blk"/>
                <a:cs typeface="HelveticaNeueLTPro-Blk"/>
              </a:rPr>
              <a:t>C</a:t>
            </a:r>
            <a:r>
              <a:rPr sz="806" b="1" spc="-36" dirty="0">
                <a:solidFill>
                  <a:srgbClr val="FFFFFF"/>
                </a:solidFill>
                <a:latin typeface="HelveticaNeueLTPro-Blk"/>
                <a:cs typeface="HelveticaNeueLTPro-Blk"/>
              </a:rPr>
              <a:t>1</a:t>
            </a:r>
            <a:r>
              <a:rPr sz="806" b="1" spc="8" dirty="0">
                <a:solidFill>
                  <a:srgbClr val="FFFFFF"/>
                </a:solidFill>
                <a:latin typeface="HelveticaNeueLTPro-Blk"/>
                <a:cs typeface="HelveticaNeueLTPro-Blk"/>
              </a:rPr>
              <a:t>0</a:t>
            </a:r>
            <a:r>
              <a:rPr sz="806" b="1" spc="-20" dirty="0">
                <a:solidFill>
                  <a:srgbClr val="FFFFFF"/>
                </a:solidFill>
                <a:latin typeface="HelveticaNeueLTPro-Blk"/>
                <a:cs typeface="HelveticaNeueLTPro-Blk"/>
              </a:rPr>
              <a:t>0</a:t>
            </a:r>
            <a:r>
              <a:rPr sz="806" b="1" spc="8" dirty="0">
                <a:solidFill>
                  <a:srgbClr val="FFFFFF"/>
                </a:solidFill>
                <a:latin typeface="HelveticaNeueLTPro-Blk"/>
                <a:cs typeface="HelveticaNeueLTPro-Blk"/>
              </a:rPr>
              <a:t>/</a:t>
            </a:r>
            <a:r>
              <a:rPr sz="806" b="1" spc="4" dirty="0">
                <a:solidFill>
                  <a:srgbClr val="FFFFFF"/>
                </a:solidFill>
                <a:latin typeface="HelveticaNeueLTPro-Blk"/>
                <a:cs typeface="HelveticaNeueLTPro-Blk"/>
              </a:rPr>
              <a:t>M</a:t>
            </a:r>
            <a:r>
              <a:rPr sz="806" b="1" spc="8" dirty="0">
                <a:solidFill>
                  <a:srgbClr val="FFFFFF"/>
                </a:solidFill>
                <a:latin typeface="HelveticaNeueLTPro-Blk"/>
                <a:cs typeface="HelveticaNeueLTPro-Blk"/>
              </a:rPr>
              <a:t>4</a:t>
            </a:r>
            <a:r>
              <a:rPr sz="806" b="1" spc="4" dirty="0">
                <a:solidFill>
                  <a:srgbClr val="FFFFFF"/>
                </a:solidFill>
                <a:latin typeface="HelveticaNeueLTPro-Blk"/>
                <a:cs typeface="HelveticaNeueLTPro-Blk"/>
              </a:rPr>
              <a:t>4</a:t>
            </a:r>
            <a:r>
              <a:rPr sz="806" b="1" spc="44" dirty="0">
                <a:solidFill>
                  <a:srgbClr val="FFFFFF"/>
                </a:solidFill>
                <a:latin typeface="HelveticaNeueLTPro-Blk"/>
                <a:cs typeface="HelveticaNeueLTPro-Blk"/>
              </a:rPr>
              <a:t>/</a:t>
            </a:r>
            <a:r>
              <a:rPr sz="806" b="1" spc="-20" dirty="0">
                <a:solidFill>
                  <a:srgbClr val="FFFFFF"/>
                </a:solidFill>
                <a:latin typeface="HelveticaNeueLTPro-Blk"/>
                <a:cs typeface="HelveticaNeueLTPro-Blk"/>
              </a:rPr>
              <a:t>Y0</a:t>
            </a:r>
            <a:r>
              <a:rPr sz="806" b="1" spc="8" dirty="0">
                <a:solidFill>
                  <a:srgbClr val="FFFFFF"/>
                </a:solidFill>
                <a:latin typeface="HelveticaNeueLTPro-Blk"/>
                <a:cs typeface="HelveticaNeueLTPro-Blk"/>
              </a:rPr>
              <a:t>/</a:t>
            </a:r>
            <a:r>
              <a:rPr sz="806" b="1" spc="-24" dirty="0">
                <a:solidFill>
                  <a:srgbClr val="FFFFFF"/>
                </a:solidFill>
                <a:latin typeface="HelveticaNeueLTPro-Blk"/>
                <a:cs typeface="HelveticaNeueLTPro-Blk"/>
              </a:rPr>
              <a:t>K</a:t>
            </a:r>
            <a:r>
              <a:rPr sz="806" b="1" dirty="0">
                <a:solidFill>
                  <a:srgbClr val="FFFFFF"/>
                </a:solidFill>
                <a:latin typeface="HelveticaNeueLTPro-Blk"/>
                <a:cs typeface="HelveticaNeueLTPro-Blk"/>
              </a:rPr>
              <a:t>0  </a:t>
            </a:r>
            <a:r>
              <a:rPr sz="806" b="1" spc="-20" dirty="0">
                <a:solidFill>
                  <a:srgbClr val="FFFFFF"/>
                </a:solidFill>
                <a:latin typeface="HelveticaNeueLTPro-Blk"/>
                <a:cs typeface="HelveticaNeueLTPro-Blk"/>
              </a:rPr>
              <a:t>R0/G121/B193</a:t>
            </a:r>
            <a:endParaRPr sz="806" dirty="0">
              <a:solidFill>
                <a:prstClr val="black"/>
              </a:solidFill>
              <a:latin typeface="HelveticaNeueLTPro-Blk"/>
              <a:cs typeface="HelveticaNeueLTPro-Blk"/>
            </a:endParaRPr>
          </a:p>
        </p:txBody>
      </p:sp>
      <p:sp>
        <p:nvSpPr>
          <p:cNvPr id="5" name="object 8">
            <a:extLst>
              <a:ext uri="{FF2B5EF4-FFF2-40B4-BE49-F238E27FC236}">
                <a16:creationId xmlns:a16="http://schemas.microsoft.com/office/drawing/2014/main" id="{831F543C-499B-744B-A87D-57D5B1E0767A}"/>
              </a:ext>
            </a:extLst>
          </p:cNvPr>
          <p:cNvSpPr/>
          <p:nvPr userDrawn="1"/>
        </p:nvSpPr>
        <p:spPr>
          <a:xfrm>
            <a:off x="8968399" y="2147082"/>
            <a:ext cx="2643733" cy="799827"/>
          </a:xfrm>
          <a:custGeom>
            <a:avLst/>
            <a:gdLst/>
            <a:ahLst/>
            <a:cxnLst/>
            <a:rect l="l" t="t" r="r" b="b"/>
            <a:pathLst>
              <a:path w="3278504" h="991870">
                <a:moveTo>
                  <a:pt x="3278251" y="0"/>
                </a:moveTo>
                <a:lnTo>
                  <a:pt x="0" y="0"/>
                </a:lnTo>
                <a:lnTo>
                  <a:pt x="0" y="991704"/>
                </a:lnTo>
                <a:lnTo>
                  <a:pt x="1759381" y="991704"/>
                </a:lnTo>
                <a:lnTo>
                  <a:pt x="1809072" y="988883"/>
                </a:lnTo>
                <a:lnTo>
                  <a:pt x="1857740" y="980540"/>
                </a:lnTo>
                <a:lnTo>
                  <a:pt x="1904950" y="966856"/>
                </a:lnTo>
                <a:lnTo>
                  <a:pt x="1950268" y="948010"/>
                </a:lnTo>
                <a:lnTo>
                  <a:pt x="1993260" y="924185"/>
                </a:lnTo>
                <a:lnTo>
                  <a:pt x="2033493" y="895560"/>
                </a:lnTo>
                <a:lnTo>
                  <a:pt x="2070531" y="862317"/>
                </a:lnTo>
                <a:lnTo>
                  <a:pt x="2379459" y="551700"/>
                </a:lnTo>
                <a:lnTo>
                  <a:pt x="2416501" y="518457"/>
                </a:lnTo>
                <a:lnTo>
                  <a:pt x="2456736" y="489834"/>
                </a:lnTo>
                <a:lnTo>
                  <a:pt x="2499728" y="466012"/>
                </a:lnTo>
                <a:lnTo>
                  <a:pt x="2545045" y="447169"/>
                </a:lnTo>
                <a:lnTo>
                  <a:pt x="2592253" y="433487"/>
                </a:lnTo>
                <a:lnTo>
                  <a:pt x="2640919" y="425146"/>
                </a:lnTo>
                <a:lnTo>
                  <a:pt x="2690609" y="422325"/>
                </a:lnTo>
                <a:lnTo>
                  <a:pt x="3278251" y="422325"/>
                </a:lnTo>
                <a:lnTo>
                  <a:pt x="3278251" y="0"/>
                </a:lnTo>
                <a:close/>
              </a:path>
            </a:pathLst>
          </a:custGeom>
          <a:solidFill>
            <a:srgbClr val="5BCBF5"/>
          </a:solidFill>
        </p:spPr>
        <p:txBody>
          <a:bodyPr wrap="square" lIns="0" tIns="0" rIns="0" bIns="0" rtlCol="0"/>
          <a:lstStyle/>
          <a:p>
            <a:pPr defTabSz="368686"/>
            <a:endParaRPr sz="1452" dirty="0">
              <a:solidFill>
                <a:srgbClr val="5BCBF5"/>
              </a:solidFill>
              <a:latin typeface="Calibri" panose="020F0502020204030204"/>
            </a:endParaRPr>
          </a:p>
        </p:txBody>
      </p:sp>
      <p:sp>
        <p:nvSpPr>
          <p:cNvPr id="6" name="object 9">
            <a:extLst>
              <a:ext uri="{FF2B5EF4-FFF2-40B4-BE49-F238E27FC236}">
                <a16:creationId xmlns:a16="http://schemas.microsoft.com/office/drawing/2014/main" id="{4DFA57B9-DE2B-6D44-A190-E8E6A11BF5C3}"/>
              </a:ext>
            </a:extLst>
          </p:cNvPr>
          <p:cNvSpPr txBox="1"/>
          <p:nvPr userDrawn="1"/>
        </p:nvSpPr>
        <p:spPr>
          <a:xfrm>
            <a:off x="9074278" y="2223666"/>
            <a:ext cx="885341" cy="368999"/>
          </a:xfrm>
          <a:prstGeom prst="rect">
            <a:avLst/>
          </a:prstGeom>
        </p:spPr>
        <p:txBody>
          <a:bodyPr vert="horz" wrap="square" lIns="0" tIns="22530" rIns="0" bIns="0" rtlCol="0">
            <a:spAutoFit/>
          </a:bodyPr>
          <a:lstStyle/>
          <a:p>
            <a:pPr marL="10241" marR="4097" defTabSz="368686">
              <a:lnSpc>
                <a:spcPts val="887"/>
              </a:lnSpc>
              <a:spcBef>
                <a:spcPts val="177"/>
              </a:spcBef>
            </a:pPr>
            <a:r>
              <a:rPr sz="806" b="1" dirty="0">
                <a:solidFill>
                  <a:srgbClr val="FFFFFF"/>
                </a:solidFill>
                <a:latin typeface="HelveticaNeueLTPro-Blk"/>
                <a:cs typeface="HelveticaNeueLTPro-Blk"/>
              </a:rPr>
              <a:t>PANTONE </a:t>
            </a:r>
            <a:r>
              <a:rPr sz="806" b="1" spc="-4" dirty="0">
                <a:solidFill>
                  <a:srgbClr val="FFFFFF"/>
                </a:solidFill>
                <a:latin typeface="HelveticaNeueLTPro-Blk"/>
                <a:cs typeface="HelveticaNeueLTPro-Blk"/>
              </a:rPr>
              <a:t>297  C55/M0/Y0/K0  </a:t>
            </a:r>
            <a:r>
              <a:rPr sz="806" b="1" spc="12" dirty="0">
                <a:solidFill>
                  <a:srgbClr val="FFFFFF"/>
                </a:solidFill>
                <a:latin typeface="HelveticaNeueLTPro-Blk"/>
                <a:cs typeface="HelveticaNeueLTPro-Blk"/>
              </a:rPr>
              <a:t>R</a:t>
            </a:r>
            <a:r>
              <a:rPr sz="806" b="1" spc="-28" dirty="0">
                <a:solidFill>
                  <a:srgbClr val="FFFFFF"/>
                </a:solidFill>
                <a:latin typeface="HelveticaNeueLTPro-Blk"/>
                <a:cs typeface="HelveticaNeueLTPro-Blk"/>
              </a:rPr>
              <a:t>9</a:t>
            </a:r>
            <a:r>
              <a:rPr sz="806" b="1" spc="-40" dirty="0">
                <a:solidFill>
                  <a:srgbClr val="FFFFFF"/>
                </a:solidFill>
                <a:latin typeface="HelveticaNeueLTPro-Blk"/>
                <a:cs typeface="HelveticaNeueLTPro-Blk"/>
              </a:rPr>
              <a:t>1</a:t>
            </a:r>
            <a:r>
              <a:rPr sz="806" b="1" spc="-20" dirty="0">
                <a:solidFill>
                  <a:srgbClr val="FFFFFF"/>
                </a:solidFill>
                <a:latin typeface="HelveticaNeueLTPro-Blk"/>
                <a:cs typeface="HelveticaNeueLTPro-Blk"/>
              </a:rPr>
              <a:t>/</a:t>
            </a:r>
            <a:r>
              <a:rPr sz="806" b="1" spc="8" dirty="0">
                <a:solidFill>
                  <a:srgbClr val="FFFFFF"/>
                </a:solidFill>
                <a:latin typeface="HelveticaNeueLTPro-Blk"/>
                <a:cs typeface="HelveticaNeueLTPro-Blk"/>
              </a:rPr>
              <a:t>G2</a:t>
            </a:r>
            <a:r>
              <a:rPr sz="806" b="1" spc="4" dirty="0">
                <a:solidFill>
                  <a:srgbClr val="FFFFFF"/>
                </a:solidFill>
                <a:latin typeface="HelveticaNeueLTPro-Blk"/>
                <a:cs typeface="HelveticaNeueLTPro-Blk"/>
              </a:rPr>
              <a:t>0</a:t>
            </a:r>
            <a:r>
              <a:rPr sz="806" b="1" spc="-4" dirty="0">
                <a:solidFill>
                  <a:srgbClr val="FFFFFF"/>
                </a:solidFill>
                <a:latin typeface="HelveticaNeueLTPro-Blk"/>
                <a:cs typeface="HelveticaNeueLTPro-Blk"/>
              </a:rPr>
              <a:t>3</a:t>
            </a:r>
            <a:r>
              <a:rPr sz="806" b="1" spc="8" dirty="0">
                <a:solidFill>
                  <a:srgbClr val="FFFFFF"/>
                </a:solidFill>
                <a:latin typeface="HelveticaNeueLTPro-Blk"/>
                <a:cs typeface="HelveticaNeueLTPro-Blk"/>
              </a:rPr>
              <a:t>/</a:t>
            </a:r>
            <a:r>
              <a:rPr sz="806" b="1" dirty="0">
                <a:solidFill>
                  <a:srgbClr val="FFFFFF"/>
                </a:solidFill>
                <a:latin typeface="HelveticaNeueLTPro-Blk"/>
                <a:cs typeface="HelveticaNeueLTPro-Blk"/>
              </a:rPr>
              <a:t>B</a:t>
            </a:r>
            <a:r>
              <a:rPr sz="806" b="1" spc="8" dirty="0">
                <a:solidFill>
                  <a:srgbClr val="FFFFFF"/>
                </a:solidFill>
                <a:latin typeface="HelveticaNeueLTPro-Blk"/>
                <a:cs typeface="HelveticaNeueLTPro-Blk"/>
              </a:rPr>
              <a:t>2</a:t>
            </a:r>
            <a:r>
              <a:rPr sz="806" b="1" spc="16" dirty="0">
                <a:solidFill>
                  <a:srgbClr val="FFFFFF"/>
                </a:solidFill>
                <a:latin typeface="HelveticaNeueLTPro-Blk"/>
                <a:cs typeface="HelveticaNeueLTPro-Blk"/>
              </a:rPr>
              <a:t>4</a:t>
            </a:r>
            <a:r>
              <a:rPr sz="806" b="1" dirty="0">
                <a:solidFill>
                  <a:srgbClr val="FFFFFF"/>
                </a:solidFill>
                <a:latin typeface="HelveticaNeueLTPro-Blk"/>
                <a:cs typeface="HelveticaNeueLTPro-Blk"/>
              </a:rPr>
              <a:t>5</a:t>
            </a:r>
            <a:endParaRPr sz="806" dirty="0">
              <a:solidFill>
                <a:prstClr val="black"/>
              </a:solidFill>
              <a:latin typeface="HelveticaNeueLTPro-Blk"/>
              <a:cs typeface="HelveticaNeueLTPro-Blk"/>
            </a:endParaRPr>
          </a:p>
        </p:txBody>
      </p:sp>
      <p:sp>
        <p:nvSpPr>
          <p:cNvPr id="7" name="object 10">
            <a:extLst>
              <a:ext uri="{FF2B5EF4-FFF2-40B4-BE49-F238E27FC236}">
                <a16:creationId xmlns:a16="http://schemas.microsoft.com/office/drawing/2014/main" id="{9401C43E-DFF6-454A-BDF9-568D026B2F28}"/>
              </a:ext>
            </a:extLst>
          </p:cNvPr>
          <p:cNvSpPr/>
          <p:nvPr userDrawn="1"/>
        </p:nvSpPr>
        <p:spPr>
          <a:xfrm>
            <a:off x="8968399" y="3042335"/>
            <a:ext cx="2643733" cy="799827"/>
          </a:xfrm>
          <a:custGeom>
            <a:avLst/>
            <a:gdLst/>
            <a:ahLst/>
            <a:cxnLst/>
            <a:rect l="l" t="t" r="r" b="b"/>
            <a:pathLst>
              <a:path w="3278505" h="991870">
                <a:moveTo>
                  <a:pt x="3278251" y="0"/>
                </a:moveTo>
                <a:lnTo>
                  <a:pt x="0" y="0"/>
                </a:lnTo>
                <a:lnTo>
                  <a:pt x="0" y="991704"/>
                </a:lnTo>
                <a:lnTo>
                  <a:pt x="1759381" y="991704"/>
                </a:lnTo>
                <a:lnTo>
                  <a:pt x="1809072" y="988883"/>
                </a:lnTo>
                <a:lnTo>
                  <a:pt x="1857740" y="980540"/>
                </a:lnTo>
                <a:lnTo>
                  <a:pt x="1904950" y="966856"/>
                </a:lnTo>
                <a:lnTo>
                  <a:pt x="1950268" y="948010"/>
                </a:lnTo>
                <a:lnTo>
                  <a:pt x="1993260" y="924185"/>
                </a:lnTo>
                <a:lnTo>
                  <a:pt x="2033493" y="895560"/>
                </a:lnTo>
                <a:lnTo>
                  <a:pt x="2070531" y="862317"/>
                </a:lnTo>
                <a:lnTo>
                  <a:pt x="2379459" y="551700"/>
                </a:lnTo>
                <a:lnTo>
                  <a:pt x="2416501" y="518457"/>
                </a:lnTo>
                <a:lnTo>
                  <a:pt x="2456736" y="489834"/>
                </a:lnTo>
                <a:lnTo>
                  <a:pt x="2499728" y="466012"/>
                </a:lnTo>
                <a:lnTo>
                  <a:pt x="2545045" y="447169"/>
                </a:lnTo>
                <a:lnTo>
                  <a:pt x="2592253" y="433487"/>
                </a:lnTo>
                <a:lnTo>
                  <a:pt x="2640919" y="425146"/>
                </a:lnTo>
                <a:lnTo>
                  <a:pt x="2690609" y="422325"/>
                </a:lnTo>
                <a:lnTo>
                  <a:pt x="3278251" y="422325"/>
                </a:lnTo>
                <a:lnTo>
                  <a:pt x="3278251" y="0"/>
                </a:lnTo>
                <a:close/>
              </a:path>
            </a:pathLst>
          </a:custGeom>
          <a:solidFill>
            <a:srgbClr val="C2CD23"/>
          </a:solidFill>
        </p:spPr>
        <p:txBody>
          <a:bodyPr wrap="square" lIns="0" tIns="0" rIns="0" bIns="0" rtlCol="0"/>
          <a:lstStyle/>
          <a:p>
            <a:pPr defTabSz="368686"/>
            <a:endParaRPr sz="1452" dirty="0">
              <a:solidFill>
                <a:srgbClr val="C2CD23"/>
              </a:solidFill>
              <a:latin typeface="Calibri" panose="020F0502020204030204"/>
            </a:endParaRPr>
          </a:p>
        </p:txBody>
      </p:sp>
      <p:sp>
        <p:nvSpPr>
          <p:cNvPr id="8" name="object 11">
            <a:extLst>
              <a:ext uri="{FF2B5EF4-FFF2-40B4-BE49-F238E27FC236}">
                <a16:creationId xmlns:a16="http://schemas.microsoft.com/office/drawing/2014/main" id="{275BEDB3-E27B-794E-82D5-BF3FF313762E}"/>
              </a:ext>
            </a:extLst>
          </p:cNvPr>
          <p:cNvSpPr txBox="1"/>
          <p:nvPr userDrawn="1"/>
        </p:nvSpPr>
        <p:spPr>
          <a:xfrm>
            <a:off x="9074278" y="3118919"/>
            <a:ext cx="954980" cy="368999"/>
          </a:xfrm>
          <a:prstGeom prst="rect">
            <a:avLst/>
          </a:prstGeom>
        </p:spPr>
        <p:txBody>
          <a:bodyPr vert="horz" wrap="square" lIns="0" tIns="22530" rIns="0" bIns="0" rtlCol="0">
            <a:spAutoFit/>
          </a:bodyPr>
          <a:lstStyle/>
          <a:p>
            <a:pPr marL="10241" marR="4097" defTabSz="368686">
              <a:lnSpc>
                <a:spcPts val="887"/>
              </a:lnSpc>
              <a:spcBef>
                <a:spcPts val="177"/>
              </a:spcBef>
            </a:pPr>
            <a:r>
              <a:rPr sz="806" b="1" dirty="0">
                <a:solidFill>
                  <a:srgbClr val="FFFFFF"/>
                </a:solidFill>
                <a:latin typeface="HelveticaNeueLTPro-Blk"/>
                <a:cs typeface="HelveticaNeueLTPro-Blk"/>
              </a:rPr>
              <a:t>PANTONE </a:t>
            </a:r>
            <a:r>
              <a:rPr sz="806" b="1" spc="4" dirty="0">
                <a:solidFill>
                  <a:srgbClr val="FFFFFF"/>
                </a:solidFill>
                <a:latin typeface="HelveticaNeueLTPro-Blk"/>
                <a:cs typeface="HelveticaNeueLTPro-Blk"/>
              </a:rPr>
              <a:t>390  </a:t>
            </a:r>
            <a:r>
              <a:rPr sz="806" b="1" dirty="0">
                <a:solidFill>
                  <a:srgbClr val="FFFFFF"/>
                </a:solidFill>
                <a:latin typeface="HelveticaNeueLTPro-Blk"/>
                <a:cs typeface="HelveticaNeueLTPro-Blk"/>
              </a:rPr>
              <a:t>C</a:t>
            </a:r>
            <a:r>
              <a:rPr sz="806" b="1" spc="12" dirty="0">
                <a:solidFill>
                  <a:srgbClr val="FFFFFF"/>
                </a:solidFill>
                <a:latin typeface="HelveticaNeueLTPro-Blk"/>
                <a:cs typeface="HelveticaNeueLTPro-Blk"/>
              </a:rPr>
              <a:t>2</a:t>
            </a:r>
            <a:r>
              <a:rPr sz="806" b="1" spc="20" dirty="0">
                <a:solidFill>
                  <a:srgbClr val="FFFFFF"/>
                </a:solidFill>
                <a:latin typeface="HelveticaNeueLTPro-Blk"/>
                <a:cs typeface="HelveticaNeueLTPro-Blk"/>
              </a:rPr>
              <a:t>2</a:t>
            </a:r>
            <a:r>
              <a:rPr sz="806" b="1" spc="8" dirty="0">
                <a:solidFill>
                  <a:srgbClr val="FFFFFF"/>
                </a:solidFill>
                <a:latin typeface="HelveticaNeueLTPro-Blk"/>
                <a:cs typeface="HelveticaNeueLTPro-Blk"/>
              </a:rPr>
              <a:t>/</a:t>
            </a:r>
            <a:r>
              <a:rPr sz="806" b="1" spc="12" dirty="0">
                <a:solidFill>
                  <a:srgbClr val="FFFFFF"/>
                </a:solidFill>
                <a:latin typeface="HelveticaNeueLTPro-Blk"/>
                <a:cs typeface="HelveticaNeueLTPro-Blk"/>
              </a:rPr>
              <a:t>M</a:t>
            </a:r>
            <a:r>
              <a:rPr sz="806" b="1" spc="-20" dirty="0">
                <a:solidFill>
                  <a:srgbClr val="FFFFFF"/>
                </a:solidFill>
                <a:latin typeface="HelveticaNeueLTPro-Blk"/>
                <a:cs typeface="HelveticaNeueLTPro-Blk"/>
              </a:rPr>
              <a:t>0</a:t>
            </a:r>
            <a:r>
              <a:rPr sz="806" b="1" spc="44" dirty="0">
                <a:solidFill>
                  <a:srgbClr val="FFFFFF"/>
                </a:solidFill>
                <a:latin typeface="HelveticaNeueLTPro-Blk"/>
                <a:cs typeface="HelveticaNeueLTPro-Blk"/>
              </a:rPr>
              <a:t>/</a:t>
            </a:r>
            <a:r>
              <a:rPr sz="806" b="1" spc="-36" dirty="0">
                <a:solidFill>
                  <a:srgbClr val="FFFFFF"/>
                </a:solidFill>
                <a:latin typeface="HelveticaNeueLTPro-Blk"/>
                <a:cs typeface="HelveticaNeueLTPro-Blk"/>
              </a:rPr>
              <a:t>Y1</a:t>
            </a:r>
            <a:r>
              <a:rPr sz="806" b="1" spc="8" dirty="0">
                <a:solidFill>
                  <a:srgbClr val="FFFFFF"/>
                </a:solidFill>
                <a:latin typeface="HelveticaNeueLTPro-Blk"/>
                <a:cs typeface="HelveticaNeueLTPro-Blk"/>
              </a:rPr>
              <a:t>0</a:t>
            </a:r>
            <a:r>
              <a:rPr sz="806" b="1" spc="-20" dirty="0">
                <a:solidFill>
                  <a:srgbClr val="FFFFFF"/>
                </a:solidFill>
                <a:latin typeface="HelveticaNeueLTPro-Blk"/>
                <a:cs typeface="HelveticaNeueLTPro-Blk"/>
              </a:rPr>
              <a:t>0</a:t>
            </a:r>
            <a:r>
              <a:rPr sz="806" b="1" spc="8" dirty="0">
                <a:solidFill>
                  <a:srgbClr val="FFFFFF"/>
                </a:solidFill>
                <a:latin typeface="HelveticaNeueLTPro-Blk"/>
                <a:cs typeface="HelveticaNeueLTPro-Blk"/>
              </a:rPr>
              <a:t>/</a:t>
            </a:r>
            <a:r>
              <a:rPr sz="806" b="1" spc="-4" dirty="0">
                <a:solidFill>
                  <a:srgbClr val="FFFFFF"/>
                </a:solidFill>
                <a:latin typeface="HelveticaNeueLTPro-Blk"/>
                <a:cs typeface="HelveticaNeueLTPro-Blk"/>
              </a:rPr>
              <a:t>K</a:t>
            </a:r>
            <a:r>
              <a:rPr sz="806" b="1" dirty="0">
                <a:solidFill>
                  <a:srgbClr val="FFFFFF"/>
                </a:solidFill>
                <a:latin typeface="HelveticaNeueLTPro-Blk"/>
                <a:cs typeface="HelveticaNeueLTPro-Blk"/>
              </a:rPr>
              <a:t>8  </a:t>
            </a:r>
            <a:r>
              <a:rPr sz="806" b="1" spc="-4" dirty="0">
                <a:solidFill>
                  <a:srgbClr val="FFFFFF"/>
                </a:solidFill>
                <a:latin typeface="HelveticaNeueLTPro-Blk"/>
                <a:cs typeface="HelveticaNeueLTPro-Blk"/>
              </a:rPr>
              <a:t>R194/G205/B35</a:t>
            </a:r>
            <a:endParaRPr sz="806" dirty="0">
              <a:solidFill>
                <a:prstClr val="black"/>
              </a:solidFill>
              <a:latin typeface="HelveticaNeueLTPro-Blk"/>
              <a:cs typeface="HelveticaNeueLTPro-Blk"/>
            </a:endParaRPr>
          </a:p>
        </p:txBody>
      </p:sp>
      <p:sp>
        <p:nvSpPr>
          <p:cNvPr id="9" name="object 12">
            <a:extLst>
              <a:ext uri="{FF2B5EF4-FFF2-40B4-BE49-F238E27FC236}">
                <a16:creationId xmlns:a16="http://schemas.microsoft.com/office/drawing/2014/main" id="{55755B21-7CF9-3A4D-BCF8-CD464741CC86}"/>
              </a:ext>
            </a:extLst>
          </p:cNvPr>
          <p:cNvSpPr/>
          <p:nvPr userDrawn="1"/>
        </p:nvSpPr>
        <p:spPr>
          <a:xfrm>
            <a:off x="8968399" y="3954466"/>
            <a:ext cx="2643733" cy="799827"/>
          </a:xfrm>
          <a:custGeom>
            <a:avLst/>
            <a:gdLst/>
            <a:ahLst/>
            <a:cxnLst/>
            <a:rect l="l" t="t" r="r" b="b"/>
            <a:pathLst>
              <a:path w="3278505" h="991870">
                <a:moveTo>
                  <a:pt x="3278251" y="0"/>
                </a:moveTo>
                <a:lnTo>
                  <a:pt x="0" y="0"/>
                </a:lnTo>
                <a:lnTo>
                  <a:pt x="0" y="991704"/>
                </a:lnTo>
                <a:lnTo>
                  <a:pt x="1759381" y="991704"/>
                </a:lnTo>
                <a:lnTo>
                  <a:pt x="1809072" y="988883"/>
                </a:lnTo>
                <a:lnTo>
                  <a:pt x="1857740" y="980540"/>
                </a:lnTo>
                <a:lnTo>
                  <a:pt x="1904950" y="966856"/>
                </a:lnTo>
                <a:lnTo>
                  <a:pt x="1950268" y="948010"/>
                </a:lnTo>
                <a:lnTo>
                  <a:pt x="1993260" y="924185"/>
                </a:lnTo>
                <a:lnTo>
                  <a:pt x="2033493" y="895560"/>
                </a:lnTo>
                <a:lnTo>
                  <a:pt x="2070531" y="862317"/>
                </a:lnTo>
                <a:lnTo>
                  <a:pt x="2379459" y="551700"/>
                </a:lnTo>
                <a:lnTo>
                  <a:pt x="2416501" y="518457"/>
                </a:lnTo>
                <a:lnTo>
                  <a:pt x="2456736" y="489834"/>
                </a:lnTo>
                <a:lnTo>
                  <a:pt x="2499728" y="466012"/>
                </a:lnTo>
                <a:lnTo>
                  <a:pt x="2545045" y="447169"/>
                </a:lnTo>
                <a:lnTo>
                  <a:pt x="2592253" y="433487"/>
                </a:lnTo>
                <a:lnTo>
                  <a:pt x="2640919" y="425146"/>
                </a:lnTo>
                <a:lnTo>
                  <a:pt x="2690609" y="422325"/>
                </a:lnTo>
                <a:lnTo>
                  <a:pt x="3278251" y="422325"/>
                </a:lnTo>
                <a:lnTo>
                  <a:pt x="3278251" y="0"/>
                </a:lnTo>
                <a:close/>
              </a:path>
            </a:pathLst>
          </a:custGeom>
          <a:solidFill>
            <a:srgbClr val="6A2C91"/>
          </a:solidFill>
        </p:spPr>
        <p:txBody>
          <a:bodyPr wrap="square" lIns="0" tIns="0" rIns="0" bIns="0" rtlCol="0"/>
          <a:lstStyle/>
          <a:p>
            <a:pPr defTabSz="368686"/>
            <a:endParaRPr sz="1452" dirty="0">
              <a:solidFill>
                <a:srgbClr val="6A2C91"/>
              </a:solidFill>
              <a:latin typeface="Calibri" panose="020F0502020204030204"/>
            </a:endParaRPr>
          </a:p>
        </p:txBody>
      </p:sp>
      <p:sp>
        <p:nvSpPr>
          <p:cNvPr id="10" name="object 13">
            <a:extLst>
              <a:ext uri="{FF2B5EF4-FFF2-40B4-BE49-F238E27FC236}">
                <a16:creationId xmlns:a16="http://schemas.microsoft.com/office/drawing/2014/main" id="{DF4D1B1C-4C72-3A45-AAF0-F0752AD88B2D}"/>
              </a:ext>
            </a:extLst>
          </p:cNvPr>
          <p:cNvSpPr txBox="1"/>
          <p:nvPr userDrawn="1"/>
        </p:nvSpPr>
        <p:spPr>
          <a:xfrm>
            <a:off x="9074277" y="4031050"/>
            <a:ext cx="941155" cy="368999"/>
          </a:xfrm>
          <a:prstGeom prst="rect">
            <a:avLst/>
          </a:prstGeom>
        </p:spPr>
        <p:txBody>
          <a:bodyPr vert="horz" wrap="square" lIns="0" tIns="22530" rIns="0" bIns="0" rtlCol="0">
            <a:spAutoFit/>
          </a:bodyPr>
          <a:lstStyle/>
          <a:p>
            <a:pPr marL="10241" marR="4097" defTabSz="368686">
              <a:lnSpc>
                <a:spcPts val="887"/>
              </a:lnSpc>
              <a:spcBef>
                <a:spcPts val="177"/>
              </a:spcBef>
            </a:pPr>
            <a:r>
              <a:rPr sz="806" b="1" dirty="0">
                <a:solidFill>
                  <a:srgbClr val="FFFFFF"/>
                </a:solidFill>
                <a:latin typeface="HelveticaNeueLTPro-Blk"/>
                <a:cs typeface="HelveticaNeueLTPro-Blk"/>
              </a:rPr>
              <a:t>PANTONE </a:t>
            </a:r>
            <a:r>
              <a:rPr sz="806" b="1" spc="-4" dirty="0">
                <a:solidFill>
                  <a:srgbClr val="FFFFFF"/>
                </a:solidFill>
                <a:latin typeface="HelveticaNeueLTPro-Blk"/>
                <a:cs typeface="HelveticaNeueLTPro-Blk"/>
              </a:rPr>
              <a:t>527  </a:t>
            </a:r>
            <a:r>
              <a:rPr sz="806" b="1" spc="-12" dirty="0">
                <a:solidFill>
                  <a:srgbClr val="FFFFFF"/>
                </a:solidFill>
                <a:latin typeface="HelveticaNeueLTPro-Blk"/>
                <a:cs typeface="HelveticaNeueLTPro-Blk"/>
              </a:rPr>
              <a:t>C</a:t>
            </a:r>
            <a:r>
              <a:rPr sz="806" b="1" spc="-16" dirty="0">
                <a:solidFill>
                  <a:srgbClr val="FFFFFF"/>
                </a:solidFill>
                <a:latin typeface="HelveticaNeueLTPro-Blk"/>
                <a:cs typeface="HelveticaNeueLTPro-Blk"/>
              </a:rPr>
              <a:t>7</a:t>
            </a:r>
            <a:r>
              <a:rPr sz="806" b="1" spc="-4" dirty="0">
                <a:solidFill>
                  <a:srgbClr val="FFFFFF"/>
                </a:solidFill>
                <a:latin typeface="HelveticaNeueLTPro-Blk"/>
                <a:cs typeface="HelveticaNeueLTPro-Blk"/>
              </a:rPr>
              <a:t>3</a:t>
            </a:r>
            <a:r>
              <a:rPr sz="806" b="1" spc="8" dirty="0">
                <a:solidFill>
                  <a:srgbClr val="FFFFFF"/>
                </a:solidFill>
                <a:latin typeface="HelveticaNeueLTPro-Blk"/>
                <a:cs typeface="HelveticaNeueLTPro-Blk"/>
              </a:rPr>
              <a:t>/</a:t>
            </a:r>
            <a:r>
              <a:rPr sz="806" b="1" spc="-32" dirty="0">
                <a:solidFill>
                  <a:srgbClr val="FFFFFF"/>
                </a:solidFill>
                <a:latin typeface="HelveticaNeueLTPro-Blk"/>
                <a:cs typeface="HelveticaNeueLTPro-Blk"/>
              </a:rPr>
              <a:t>M</a:t>
            </a:r>
            <a:r>
              <a:rPr sz="806" b="1" spc="-36" dirty="0">
                <a:solidFill>
                  <a:srgbClr val="FFFFFF"/>
                </a:solidFill>
                <a:latin typeface="HelveticaNeueLTPro-Blk"/>
                <a:cs typeface="HelveticaNeueLTPro-Blk"/>
              </a:rPr>
              <a:t>1</a:t>
            </a:r>
            <a:r>
              <a:rPr sz="806" b="1" spc="8" dirty="0">
                <a:solidFill>
                  <a:srgbClr val="FFFFFF"/>
                </a:solidFill>
                <a:latin typeface="HelveticaNeueLTPro-Blk"/>
                <a:cs typeface="HelveticaNeueLTPro-Blk"/>
              </a:rPr>
              <a:t>0</a:t>
            </a:r>
            <a:r>
              <a:rPr sz="806" b="1" spc="-20" dirty="0">
                <a:solidFill>
                  <a:srgbClr val="FFFFFF"/>
                </a:solidFill>
                <a:latin typeface="HelveticaNeueLTPro-Blk"/>
                <a:cs typeface="HelveticaNeueLTPro-Blk"/>
              </a:rPr>
              <a:t>0</a:t>
            </a:r>
            <a:r>
              <a:rPr sz="806" b="1" spc="44" dirty="0">
                <a:solidFill>
                  <a:srgbClr val="FFFFFF"/>
                </a:solidFill>
                <a:latin typeface="HelveticaNeueLTPro-Blk"/>
                <a:cs typeface="HelveticaNeueLTPro-Blk"/>
              </a:rPr>
              <a:t>/</a:t>
            </a:r>
            <a:r>
              <a:rPr sz="806" b="1" spc="-20" dirty="0">
                <a:solidFill>
                  <a:srgbClr val="FFFFFF"/>
                </a:solidFill>
                <a:latin typeface="HelveticaNeueLTPro-Blk"/>
                <a:cs typeface="HelveticaNeueLTPro-Blk"/>
              </a:rPr>
              <a:t>Y0</a:t>
            </a:r>
            <a:r>
              <a:rPr sz="806" b="1" spc="8" dirty="0">
                <a:solidFill>
                  <a:srgbClr val="FFFFFF"/>
                </a:solidFill>
                <a:latin typeface="HelveticaNeueLTPro-Blk"/>
                <a:cs typeface="HelveticaNeueLTPro-Blk"/>
              </a:rPr>
              <a:t>/</a:t>
            </a:r>
            <a:r>
              <a:rPr sz="806" b="1" spc="-24" dirty="0">
                <a:solidFill>
                  <a:srgbClr val="FFFFFF"/>
                </a:solidFill>
                <a:latin typeface="HelveticaNeueLTPro-Blk"/>
                <a:cs typeface="HelveticaNeueLTPro-Blk"/>
              </a:rPr>
              <a:t>K</a:t>
            </a:r>
            <a:r>
              <a:rPr sz="806" b="1" dirty="0">
                <a:solidFill>
                  <a:srgbClr val="FFFFFF"/>
                </a:solidFill>
                <a:latin typeface="HelveticaNeueLTPro-Blk"/>
                <a:cs typeface="HelveticaNeueLTPro-Blk"/>
              </a:rPr>
              <a:t>0  </a:t>
            </a:r>
            <a:r>
              <a:rPr sz="806" b="1" spc="-12" dirty="0">
                <a:solidFill>
                  <a:srgbClr val="FFFFFF"/>
                </a:solidFill>
                <a:latin typeface="HelveticaNeueLTPro-Blk"/>
                <a:cs typeface="HelveticaNeueLTPro-Blk"/>
              </a:rPr>
              <a:t>R106/G44/B145</a:t>
            </a:r>
            <a:endParaRPr sz="806" dirty="0">
              <a:solidFill>
                <a:prstClr val="black"/>
              </a:solidFill>
              <a:latin typeface="HelveticaNeueLTPro-Blk"/>
              <a:cs typeface="HelveticaNeueLTPro-Blk"/>
            </a:endParaRPr>
          </a:p>
        </p:txBody>
      </p:sp>
      <p:sp>
        <p:nvSpPr>
          <p:cNvPr id="11" name="object 14">
            <a:extLst>
              <a:ext uri="{FF2B5EF4-FFF2-40B4-BE49-F238E27FC236}">
                <a16:creationId xmlns:a16="http://schemas.microsoft.com/office/drawing/2014/main" id="{066B0DD8-7104-6F47-81C6-F16C668E5FB2}"/>
              </a:ext>
            </a:extLst>
          </p:cNvPr>
          <p:cNvSpPr/>
          <p:nvPr userDrawn="1"/>
        </p:nvSpPr>
        <p:spPr>
          <a:xfrm>
            <a:off x="8968399" y="4935996"/>
            <a:ext cx="2643733" cy="799827"/>
          </a:xfrm>
          <a:custGeom>
            <a:avLst/>
            <a:gdLst/>
            <a:ahLst/>
            <a:cxnLst/>
            <a:rect l="l" t="t" r="r" b="b"/>
            <a:pathLst>
              <a:path w="3278505" h="991870">
                <a:moveTo>
                  <a:pt x="3278251" y="0"/>
                </a:moveTo>
                <a:lnTo>
                  <a:pt x="0" y="0"/>
                </a:lnTo>
                <a:lnTo>
                  <a:pt x="0" y="991704"/>
                </a:lnTo>
                <a:lnTo>
                  <a:pt x="1759381" y="991704"/>
                </a:lnTo>
                <a:lnTo>
                  <a:pt x="1809072" y="988883"/>
                </a:lnTo>
                <a:lnTo>
                  <a:pt x="1857740" y="980540"/>
                </a:lnTo>
                <a:lnTo>
                  <a:pt x="1904950" y="966856"/>
                </a:lnTo>
                <a:lnTo>
                  <a:pt x="1950268" y="948010"/>
                </a:lnTo>
                <a:lnTo>
                  <a:pt x="1993260" y="924185"/>
                </a:lnTo>
                <a:lnTo>
                  <a:pt x="2033493" y="895560"/>
                </a:lnTo>
                <a:lnTo>
                  <a:pt x="2070531" y="862317"/>
                </a:lnTo>
                <a:lnTo>
                  <a:pt x="2379459" y="551700"/>
                </a:lnTo>
                <a:lnTo>
                  <a:pt x="2416501" y="518457"/>
                </a:lnTo>
                <a:lnTo>
                  <a:pt x="2456736" y="489834"/>
                </a:lnTo>
                <a:lnTo>
                  <a:pt x="2499728" y="466012"/>
                </a:lnTo>
                <a:lnTo>
                  <a:pt x="2545045" y="447169"/>
                </a:lnTo>
                <a:lnTo>
                  <a:pt x="2592253" y="433487"/>
                </a:lnTo>
                <a:lnTo>
                  <a:pt x="2640919" y="425146"/>
                </a:lnTo>
                <a:lnTo>
                  <a:pt x="2690609" y="422325"/>
                </a:lnTo>
                <a:lnTo>
                  <a:pt x="3278251" y="422325"/>
                </a:lnTo>
                <a:lnTo>
                  <a:pt x="3278251" y="0"/>
                </a:lnTo>
                <a:close/>
              </a:path>
            </a:pathLst>
          </a:custGeom>
          <a:solidFill>
            <a:srgbClr val="454546"/>
          </a:solidFill>
        </p:spPr>
        <p:txBody>
          <a:bodyPr wrap="square" lIns="0" tIns="0" rIns="0" bIns="0" rtlCol="0"/>
          <a:lstStyle/>
          <a:p>
            <a:pPr defTabSz="368686"/>
            <a:endParaRPr sz="1452" dirty="0">
              <a:solidFill>
                <a:srgbClr val="454546"/>
              </a:solidFill>
              <a:latin typeface="Calibri" panose="020F0502020204030204"/>
            </a:endParaRPr>
          </a:p>
        </p:txBody>
      </p:sp>
      <p:sp>
        <p:nvSpPr>
          <p:cNvPr id="12" name="object 15">
            <a:extLst>
              <a:ext uri="{FF2B5EF4-FFF2-40B4-BE49-F238E27FC236}">
                <a16:creationId xmlns:a16="http://schemas.microsoft.com/office/drawing/2014/main" id="{2CB91BC2-4E5C-104F-89D0-8746DC661FD6}"/>
              </a:ext>
            </a:extLst>
          </p:cNvPr>
          <p:cNvSpPr txBox="1"/>
          <p:nvPr userDrawn="1"/>
        </p:nvSpPr>
        <p:spPr>
          <a:xfrm>
            <a:off x="9074277" y="5012580"/>
            <a:ext cx="1025132" cy="368999"/>
          </a:xfrm>
          <a:prstGeom prst="rect">
            <a:avLst/>
          </a:prstGeom>
        </p:spPr>
        <p:txBody>
          <a:bodyPr vert="horz" wrap="square" lIns="0" tIns="22530" rIns="0" bIns="0" rtlCol="0">
            <a:spAutoFit/>
          </a:bodyPr>
          <a:lstStyle/>
          <a:p>
            <a:pPr marL="10241" marR="4097" defTabSz="368686">
              <a:lnSpc>
                <a:spcPts val="887"/>
              </a:lnSpc>
              <a:spcBef>
                <a:spcPts val="177"/>
              </a:spcBef>
            </a:pPr>
            <a:r>
              <a:rPr sz="806" b="1" dirty="0">
                <a:solidFill>
                  <a:srgbClr val="FFFFFF"/>
                </a:solidFill>
                <a:latin typeface="HelveticaNeueLTPro-Blk"/>
                <a:cs typeface="HelveticaNeueLTPro-Blk"/>
              </a:rPr>
              <a:t>PANTONE </a:t>
            </a:r>
            <a:r>
              <a:rPr sz="806" b="1" spc="4" dirty="0">
                <a:solidFill>
                  <a:srgbClr val="FFFFFF"/>
                </a:solidFill>
                <a:latin typeface="HelveticaNeueLTPro-Blk"/>
                <a:cs typeface="HelveticaNeueLTPro-Blk"/>
              </a:rPr>
              <a:t>425  </a:t>
            </a:r>
            <a:r>
              <a:rPr sz="806" b="1" spc="-4" dirty="0">
                <a:solidFill>
                  <a:srgbClr val="FFFFFF"/>
                </a:solidFill>
                <a:latin typeface="HelveticaNeueLTPro-Blk"/>
                <a:cs typeface="HelveticaNeueLTPro-Blk"/>
              </a:rPr>
              <a:t>C67/M60/Y58/K43  </a:t>
            </a:r>
            <a:r>
              <a:rPr sz="806" b="1" spc="-8" dirty="0">
                <a:solidFill>
                  <a:srgbClr val="FFFFFF"/>
                </a:solidFill>
                <a:latin typeface="HelveticaNeueLTPro-Blk"/>
                <a:cs typeface="HelveticaNeueLTPro-Blk"/>
              </a:rPr>
              <a:t>R69/G69/B70</a:t>
            </a:r>
            <a:endParaRPr sz="806" dirty="0">
              <a:solidFill>
                <a:prstClr val="black"/>
              </a:solidFill>
              <a:latin typeface="HelveticaNeueLTPro-Blk"/>
              <a:cs typeface="HelveticaNeueLTPro-Blk"/>
            </a:endParaRPr>
          </a:p>
        </p:txBody>
      </p:sp>
      <p:sp>
        <p:nvSpPr>
          <p:cNvPr id="13" name="object 16">
            <a:extLst>
              <a:ext uri="{FF2B5EF4-FFF2-40B4-BE49-F238E27FC236}">
                <a16:creationId xmlns:a16="http://schemas.microsoft.com/office/drawing/2014/main" id="{3389566B-8668-B543-B8C2-A6C3E321DB7F}"/>
              </a:ext>
            </a:extLst>
          </p:cNvPr>
          <p:cNvSpPr/>
          <p:nvPr userDrawn="1"/>
        </p:nvSpPr>
        <p:spPr>
          <a:xfrm>
            <a:off x="6163393" y="3050863"/>
            <a:ext cx="2643733" cy="799827"/>
          </a:xfrm>
          <a:custGeom>
            <a:avLst/>
            <a:gdLst/>
            <a:ahLst/>
            <a:cxnLst/>
            <a:rect l="l" t="t" r="r" b="b"/>
            <a:pathLst>
              <a:path w="3278504" h="991870">
                <a:moveTo>
                  <a:pt x="3278251" y="0"/>
                </a:moveTo>
                <a:lnTo>
                  <a:pt x="0" y="0"/>
                </a:lnTo>
                <a:lnTo>
                  <a:pt x="0" y="991704"/>
                </a:lnTo>
                <a:lnTo>
                  <a:pt x="1759381" y="991704"/>
                </a:lnTo>
                <a:lnTo>
                  <a:pt x="1809072" y="988883"/>
                </a:lnTo>
                <a:lnTo>
                  <a:pt x="1857740" y="980540"/>
                </a:lnTo>
                <a:lnTo>
                  <a:pt x="1904950" y="966856"/>
                </a:lnTo>
                <a:lnTo>
                  <a:pt x="1950268" y="948010"/>
                </a:lnTo>
                <a:lnTo>
                  <a:pt x="1993260" y="924185"/>
                </a:lnTo>
                <a:lnTo>
                  <a:pt x="2033493" y="895560"/>
                </a:lnTo>
                <a:lnTo>
                  <a:pt x="2070531" y="862317"/>
                </a:lnTo>
                <a:lnTo>
                  <a:pt x="2379459" y="551700"/>
                </a:lnTo>
                <a:lnTo>
                  <a:pt x="2416501" y="518457"/>
                </a:lnTo>
                <a:lnTo>
                  <a:pt x="2456736" y="489834"/>
                </a:lnTo>
                <a:lnTo>
                  <a:pt x="2499728" y="466012"/>
                </a:lnTo>
                <a:lnTo>
                  <a:pt x="2545045" y="447169"/>
                </a:lnTo>
                <a:lnTo>
                  <a:pt x="2592253" y="433487"/>
                </a:lnTo>
                <a:lnTo>
                  <a:pt x="2640919" y="425146"/>
                </a:lnTo>
                <a:lnTo>
                  <a:pt x="2690609" y="422325"/>
                </a:lnTo>
                <a:lnTo>
                  <a:pt x="3278251" y="422325"/>
                </a:lnTo>
                <a:lnTo>
                  <a:pt x="3278251" y="0"/>
                </a:lnTo>
                <a:close/>
              </a:path>
            </a:pathLst>
          </a:custGeom>
          <a:solidFill>
            <a:srgbClr val="FFBF22"/>
          </a:solidFill>
        </p:spPr>
        <p:txBody>
          <a:bodyPr wrap="square" lIns="0" tIns="0" rIns="0" bIns="0" rtlCol="0"/>
          <a:lstStyle/>
          <a:p>
            <a:pPr defTabSz="368686"/>
            <a:endParaRPr sz="1452" dirty="0">
              <a:solidFill>
                <a:prstClr val="black"/>
              </a:solidFill>
              <a:latin typeface="Calibri" panose="020F0502020204030204"/>
            </a:endParaRPr>
          </a:p>
        </p:txBody>
      </p:sp>
      <p:sp>
        <p:nvSpPr>
          <p:cNvPr id="14" name="object 17">
            <a:extLst>
              <a:ext uri="{FF2B5EF4-FFF2-40B4-BE49-F238E27FC236}">
                <a16:creationId xmlns:a16="http://schemas.microsoft.com/office/drawing/2014/main" id="{67D5F6A2-CDE4-6D4F-870A-4298B994B815}"/>
              </a:ext>
            </a:extLst>
          </p:cNvPr>
          <p:cNvSpPr txBox="1"/>
          <p:nvPr userDrawn="1"/>
        </p:nvSpPr>
        <p:spPr>
          <a:xfrm>
            <a:off x="6269273" y="3127447"/>
            <a:ext cx="889437" cy="368999"/>
          </a:xfrm>
          <a:prstGeom prst="rect">
            <a:avLst/>
          </a:prstGeom>
        </p:spPr>
        <p:txBody>
          <a:bodyPr vert="horz" wrap="square" lIns="0" tIns="22530" rIns="0" bIns="0" rtlCol="0">
            <a:spAutoFit/>
          </a:bodyPr>
          <a:lstStyle/>
          <a:p>
            <a:pPr marL="10241" marR="4097" defTabSz="368686">
              <a:lnSpc>
                <a:spcPts val="887"/>
              </a:lnSpc>
              <a:spcBef>
                <a:spcPts val="177"/>
              </a:spcBef>
            </a:pPr>
            <a:r>
              <a:rPr sz="806" b="1" dirty="0">
                <a:solidFill>
                  <a:srgbClr val="FFFFFF"/>
                </a:solidFill>
                <a:latin typeface="HelveticaNeueLTPro-Blk"/>
                <a:cs typeface="HelveticaNeueLTPro-Blk"/>
              </a:rPr>
              <a:t>PANTONE </a:t>
            </a:r>
            <a:r>
              <a:rPr sz="806" b="1" spc="-12" dirty="0">
                <a:solidFill>
                  <a:srgbClr val="FFFFFF"/>
                </a:solidFill>
                <a:latin typeface="HelveticaNeueLTPro-Blk"/>
                <a:cs typeface="HelveticaNeueLTPro-Blk"/>
              </a:rPr>
              <a:t>7408  </a:t>
            </a:r>
            <a:r>
              <a:rPr sz="806" b="1" spc="4" dirty="0">
                <a:solidFill>
                  <a:srgbClr val="FFFFFF"/>
                </a:solidFill>
                <a:latin typeface="HelveticaNeueLTPro-Blk"/>
                <a:cs typeface="HelveticaNeueLTPro-Blk"/>
              </a:rPr>
              <a:t>C</a:t>
            </a:r>
            <a:r>
              <a:rPr sz="806" b="1" spc="-20" dirty="0">
                <a:solidFill>
                  <a:srgbClr val="FFFFFF"/>
                </a:solidFill>
                <a:latin typeface="HelveticaNeueLTPro-Blk"/>
                <a:cs typeface="HelveticaNeueLTPro-Blk"/>
              </a:rPr>
              <a:t>0</a:t>
            </a:r>
            <a:r>
              <a:rPr sz="806" b="1" spc="8" dirty="0">
                <a:solidFill>
                  <a:srgbClr val="FFFFFF"/>
                </a:solidFill>
                <a:latin typeface="HelveticaNeueLTPro-Blk"/>
                <a:cs typeface="HelveticaNeueLTPro-Blk"/>
              </a:rPr>
              <a:t>/</a:t>
            </a:r>
            <a:r>
              <a:rPr sz="806" b="1" spc="12" dirty="0">
                <a:solidFill>
                  <a:srgbClr val="FFFFFF"/>
                </a:solidFill>
                <a:latin typeface="HelveticaNeueLTPro-Blk"/>
                <a:cs typeface="HelveticaNeueLTPro-Blk"/>
              </a:rPr>
              <a:t>M2</a:t>
            </a:r>
            <a:r>
              <a:rPr sz="806" b="1" spc="-12" dirty="0">
                <a:solidFill>
                  <a:srgbClr val="FFFFFF"/>
                </a:solidFill>
                <a:latin typeface="HelveticaNeueLTPro-Blk"/>
                <a:cs typeface="HelveticaNeueLTPro-Blk"/>
              </a:rPr>
              <a:t>5</a:t>
            </a:r>
            <a:r>
              <a:rPr sz="806" b="1" spc="44" dirty="0">
                <a:solidFill>
                  <a:srgbClr val="FFFFFF"/>
                </a:solidFill>
                <a:latin typeface="HelveticaNeueLTPro-Blk"/>
                <a:cs typeface="HelveticaNeueLTPro-Blk"/>
              </a:rPr>
              <a:t>/</a:t>
            </a:r>
            <a:r>
              <a:rPr sz="806" b="1" spc="-12" dirty="0">
                <a:solidFill>
                  <a:srgbClr val="FFFFFF"/>
                </a:solidFill>
                <a:latin typeface="HelveticaNeueLTPro-Blk"/>
                <a:cs typeface="HelveticaNeueLTPro-Blk"/>
              </a:rPr>
              <a:t>Y</a:t>
            </a:r>
            <a:r>
              <a:rPr sz="806" b="1" spc="4" dirty="0">
                <a:solidFill>
                  <a:srgbClr val="FFFFFF"/>
                </a:solidFill>
                <a:latin typeface="HelveticaNeueLTPro-Blk"/>
                <a:cs typeface="HelveticaNeueLTPro-Blk"/>
              </a:rPr>
              <a:t>9</a:t>
            </a:r>
            <a:r>
              <a:rPr sz="806" b="1" spc="-12" dirty="0">
                <a:solidFill>
                  <a:srgbClr val="FFFFFF"/>
                </a:solidFill>
                <a:latin typeface="HelveticaNeueLTPro-Blk"/>
                <a:cs typeface="HelveticaNeueLTPro-Blk"/>
              </a:rPr>
              <a:t>5</a:t>
            </a:r>
            <a:r>
              <a:rPr sz="806" b="1" spc="8" dirty="0">
                <a:solidFill>
                  <a:srgbClr val="FFFFFF"/>
                </a:solidFill>
                <a:latin typeface="HelveticaNeueLTPro-Blk"/>
                <a:cs typeface="HelveticaNeueLTPro-Blk"/>
              </a:rPr>
              <a:t>/</a:t>
            </a:r>
            <a:r>
              <a:rPr sz="806" b="1" spc="-24" dirty="0">
                <a:solidFill>
                  <a:srgbClr val="FFFFFF"/>
                </a:solidFill>
                <a:latin typeface="HelveticaNeueLTPro-Blk"/>
                <a:cs typeface="HelveticaNeueLTPro-Blk"/>
              </a:rPr>
              <a:t>K</a:t>
            </a:r>
            <a:r>
              <a:rPr sz="806" b="1" dirty="0">
                <a:solidFill>
                  <a:srgbClr val="FFFFFF"/>
                </a:solidFill>
                <a:latin typeface="HelveticaNeueLTPro-Blk"/>
                <a:cs typeface="HelveticaNeueLTPro-Blk"/>
              </a:rPr>
              <a:t>0  </a:t>
            </a:r>
            <a:r>
              <a:rPr sz="806" b="1" spc="-12" dirty="0">
                <a:solidFill>
                  <a:srgbClr val="FFFFFF"/>
                </a:solidFill>
                <a:latin typeface="HelveticaNeueLTPro-Blk"/>
                <a:cs typeface="HelveticaNeueLTPro-Blk"/>
              </a:rPr>
              <a:t>R255/G191/B34</a:t>
            </a:r>
            <a:endParaRPr sz="806" dirty="0">
              <a:solidFill>
                <a:prstClr val="black"/>
              </a:solidFill>
              <a:latin typeface="HelveticaNeueLTPro-Blk"/>
              <a:cs typeface="HelveticaNeueLTPro-Blk"/>
            </a:endParaRPr>
          </a:p>
        </p:txBody>
      </p:sp>
      <p:sp>
        <p:nvSpPr>
          <p:cNvPr id="15" name="object 18">
            <a:extLst>
              <a:ext uri="{FF2B5EF4-FFF2-40B4-BE49-F238E27FC236}">
                <a16:creationId xmlns:a16="http://schemas.microsoft.com/office/drawing/2014/main" id="{94062D12-7027-7540-B2D0-91D1F654F299}"/>
              </a:ext>
            </a:extLst>
          </p:cNvPr>
          <p:cNvSpPr/>
          <p:nvPr userDrawn="1"/>
        </p:nvSpPr>
        <p:spPr>
          <a:xfrm>
            <a:off x="6168836" y="3950454"/>
            <a:ext cx="2643733" cy="799827"/>
          </a:xfrm>
          <a:custGeom>
            <a:avLst/>
            <a:gdLst/>
            <a:ahLst/>
            <a:cxnLst/>
            <a:rect l="l" t="t" r="r" b="b"/>
            <a:pathLst>
              <a:path w="3278504" h="991870">
                <a:moveTo>
                  <a:pt x="3278251" y="0"/>
                </a:moveTo>
                <a:lnTo>
                  <a:pt x="0" y="0"/>
                </a:lnTo>
                <a:lnTo>
                  <a:pt x="0" y="991704"/>
                </a:lnTo>
                <a:lnTo>
                  <a:pt x="1759381" y="991704"/>
                </a:lnTo>
                <a:lnTo>
                  <a:pt x="1809072" y="988883"/>
                </a:lnTo>
                <a:lnTo>
                  <a:pt x="1857740" y="980540"/>
                </a:lnTo>
                <a:lnTo>
                  <a:pt x="1904950" y="966856"/>
                </a:lnTo>
                <a:lnTo>
                  <a:pt x="1950268" y="948010"/>
                </a:lnTo>
                <a:lnTo>
                  <a:pt x="1993260" y="924185"/>
                </a:lnTo>
                <a:lnTo>
                  <a:pt x="2033493" y="895560"/>
                </a:lnTo>
                <a:lnTo>
                  <a:pt x="2070531" y="862317"/>
                </a:lnTo>
                <a:lnTo>
                  <a:pt x="2379459" y="551700"/>
                </a:lnTo>
                <a:lnTo>
                  <a:pt x="2416501" y="518457"/>
                </a:lnTo>
                <a:lnTo>
                  <a:pt x="2456736" y="489834"/>
                </a:lnTo>
                <a:lnTo>
                  <a:pt x="2499728" y="466012"/>
                </a:lnTo>
                <a:lnTo>
                  <a:pt x="2545045" y="447169"/>
                </a:lnTo>
                <a:lnTo>
                  <a:pt x="2592253" y="433487"/>
                </a:lnTo>
                <a:lnTo>
                  <a:pt x="2640919" y="425146"/>
                </a:lnTo>
                <a:lnTo>
                  <a:pt x="2690609" y="422325"/>
                </a:lnTo>
                <a:lnTo>
                  <a:pt x="3278251" y="422325"/>
                </a:lnTo>
                <a:lnTo>
                  <a:pt x="3278251" y="0"/>
                </a:lnTo>
                <a:close/>
              </a:path>
            </a:pathLst>
          </a:custGeom>
          <a:solidFill>
            <a:srgbClr val="F26522"/>
          </a:solidFill>
        </p:spPr>
        <p:txBody>
          <a:bodyPr wrap="square" lIns="0" tIns="0" rIns="0" bIns="0" rtlCol="0"/>
          <a:lstStyle/>
          <a:p>
            <a:pPr defTabSz="368686"/>
            <a:endParaRPr sz="1452" dirty="0">
              <a:solidFill>
                <a:srgbClr val="F26522"/>
              </a:solidFill>
              <a:latin typeface="Calibri" panose="020F0502020204030204"/>
            </a:endParaRPr>
          </a:p>
        </p:txBody>
      </p:sp>
      <p:sp>
        <p:nvSpPr>
          <p:cNvPr id="16" name="object 19">
            <a:extLst>
              <a:ext uri="{FF2B5EF4-FFF2-40B4-BE49-F238E27FC236}">
                <a16:creationId xmlns:a16="http://schemas.microsoft.com/office/drawing/2014/main" id="{7E4B378D-CF56-5E41-9003-17C347983F94}"/>
              </a:ext>
            </a:extLst>
          </p:cNvPr>
          <p:cNvSpPr txBox="1"/>
          <p:nvPr userDrawn="1"/>
        </p:nvSpPr>
        <p:spPr>
          <a:xfrm>
            <a:off x="6274714" y="4027039"/>
            <a:ext cx="1053807" cy="369414"/>
          </a:xfrm>
          <a:prstGeom prst="rect">
            <a:avLst/>
          </a:prstGeom>
        </p:spPr>
        <p:txBody>
          <a:bodyPr vert="horz" wrap="square" lIns="0" tIns="10241" rIns="0" bIns="0" rtlCol="0">
            <a:spAutoFit/>
          </a:bodyPr>
          <a:lstStyle/>
          <a:p>
            <a:pPr marL="10241" defTabSz="368686">
              <a:lnSpc>
                <a:spcPts val="927"/>
              </a:lnSpc>
              <a:spcBef>
                <a:spcPts val="81"/>
              </a:spcBef>
            </a:pPr>
            <a:r>
              <a:rPr sz="806" b="1" dirty="0">
                <a:solidFill>
                  <a:srgbClr val="FFFFFF"/>
                </a:solidFill>
                <a:latin typeface="HelveticaNeueLTPro-Blk"/>
                <a:cs typeface="HelveticaNeueLTPro-Blk"/>
              </a:rPr>
              <a:t>PANTONE</a:t>
            </a:r>
            <a:r>
              <a:rPr sz="806" b="1" spc="-8" dirty="0">
                <a:solidFill>
                  <a:srgbClr val="FFFFFF"/>
                </a:solidFill>
                <a:latin typeface="HelveticaNeueLTPro-Blk"/>
                <a:cs typeface="HelveticaNeueLTPro-Blk"/>
              </a:rPr>
              <a:t> </a:t>
            </a:r>
            <a:r>
              <a:rPr sz="806" b="1" spc="-16" dirty="0">
                <a:solidFill>
                  <a:srgbClr val="FFFFFF"/>
                </a:solidFill>
                <a:latin typeface="HelveticaNeueLTPro-Blk"/>
                <a:cs typeface="HelveticaNeueLTPro-Blk"/>
              </a:rPr>
              <a:t>166</a:t>
            </a:r>
            <a:endParaRPr sz="806" dirty="0">
              <a:solidFill>
                <a:prstClr val="black"/>
              </a:solidFill>
              <a:latin typeface="HelveticaNeueLTPro-Blk"/>
              <a:cs typeface="HelveticaNeueLTPro-Blk"/>
            </a:endParaRPr>
          </a:p>
          <a:p>
            <a:pPr marL="10241" marR="4097" defTabSz="368686">
              <a:lnSpc>
                <a:spcPts val="887"/>
              </a:lnSpc>
              <a:spcBef>
                <a:spcPts val="56"/>
              </a:spcBef>
            </a:pPr>
            <a:r>
              <a:rPr sz="806" b="1" spc="4" dirty="0">
                <a:solidFill>
                  <a:srgbClr val="FFFFFF"/>
                </a:solidFill>
                <a:latin typeface="HelveticaNeueLTPro-Blk"/>
                <a:cs typeface="HelveticaNeueLTPro-Blk"/>
              </a:rPr>
              <a:t>C:0 </a:t>
            </a:r>
            <a:r>
              <a:rPr sz="806" b="1" spc="-8" dirty="0">
                <a:solidFill>
                  <a:srgbClr val="FFFFFF"/>
                </a:solidFill>
                <a:latin typeface="HelveticaNeueLTPro-Blk"/>
                <a:cs typeface="HelveticaNeueLTPro-Blk"/>
              </a:rPr>
              <a:t>M:75 </a:t>
            </a:r>
            <a:r>
              <a:rPr sz="806" b="1" spc="-20" dirty="0">
                <a:solidFill>
                  <a:srgbClr val="FFFFFF"/>
                </a:solidFill>
                <a:latin typeface="HelveticaNeueLTPro-Blk"/>
                <a:cs typeface="HelveticaNeueLTPro-Blk"/>
              </a:rPr>
              <a:t>Y:100</a:t>
            </a:r>
            <a:r>
              <a:rPr sz="806" b="1" spc="-48" dirty="0">
                <a:solidFill>
                  <a:srgbClr val="FFFFFF"/>
                </a:solidFill>
                <a:latin typeface="HelveticaNeueLTPro-Blk"/>
                <a:cs typeface="HelveticaNeueLTPro-Blk"/>
              </a:rPr>
              <a:t> </a:t>
            </a:r>
            <a:r>
              <a:rPr sz="806" b="1" spc="4" dirty="0">
                <a:solidFill>
                  <a:srgbClr val="FFFFFF"/>
                </a:solidFill>
                <a:latin typeface="HelveticaNeueLTPro-Blk"/>
                <a:cs typeface="HelveticaNeueLTPro-Blk"/>
              </a:rPr>
              <a:t>K:0  R:242 </a:t>
            </a:r>
            <a:r>
              <a:rPr sz="806" b="1" spc="-20" dirty="0">
                <a:solidFill>
                  <a:srgbClr val="FFFFFF"/>
                </a:solidFill>
                <a:latin typeface="HelveticaNeueLTPro-Blk"/>
                <a:cs typeface="HelveticaNeueLTPro-Blk"/>
              </a:rPr>
              <a:t>G:101</a:t>
            </a:r>
            <a:r>
              <a:rPr sz="806" b="1" spc="-28" dirty="0">
                <a:solidFill>
                  <a:srgbClr val="FFFFFF"/>
                </a:solidFill>
                <a:latin typeface="HelveticaNeueLTPro-Blk"/>
                <a:cs typeface="HelveticaNeueLTPro-Blk"/>
              </a:rPr>
              <a:t> </a:t>
            </a:r>
            <a:r>
              <a:rPr sz="806" b="1" spc="4" dirty="0">
                <a:solidFill>
                  <a:srgbClr val="FFFFFF"/>
                </a:solidFill>
                <a:latin typeface="HelveticaNeueLTPro-Blk"/>
                <a:cs typeface="HelveticaNeueLTPro-Blk"/>
              </a:rPr>
              <a:t>B:34</a:t>
            </a:r>
            <a:endParaRPr sz="806" dirty="0">
              <a:solidFill>
                <a:prstClr val="black"/>
              </a:solidFill>
              <a:latin typeface="HelveticaNeueLTPro-Blk"/>
              <a:cs typeface="HelveticaNeueLTPro-Blk"/>
            </a:endParaRPr>
          </a:p>
        </p:txBody>
      </p:sp>
      <p:sp>
        <p:nvSpPr>
          <p:cNvPr id="17" name="object 20">
            <a:extLst>
              <a:ext uri="{FF2B5EF4-FFF2-40B4-BE49-F238E27FC236}">
                <a16:creationId xmlns:a16="http://schemas.microsoft.com/office/drawing/2014/main" id="{A84E9A33-66B1-8D43-AAFE-E75634F30D0B}"/>
              </a:ext>
            </a:extLst>
          </p:cNvPr>
          <p:cNvSpPr/>
          <p:nvPr userDrawn="1"/>
        </p:nvSpPr>
        <p:spPr>
          <a:xfrm>
            <a:off x="6168836" y="2147082"/>
            <a:ext cx="2643733" cy="799827"/>
          </a:xfrm>
          <a:custGeom>
            <a:avLst/>
            <a:gdLst/>
            <a:ahLst/>
            <a:cxnLst/>
            <a:rect l="l" t="t" r="r" b="b"/>
            <a:pathLst>
              <a:path w="3278504" h="991870">
                <a:moveTo>
                  <a:pt x="3278251" y="0"/>
                </a:moveTo>
                <a:lnTo>
                  <a:pt x="0" y="0"/>
                </a:lnTo>
                <a:lnTo>
                  <a:pt x="0" y="991704"/>
                </a:lnTo>
                <a:lnTo>
                  <a:pt x="1759381" y="991704"/>
                </a:lnTo>
                <a:lnTo>
                  <a:pt x="1809072" y="988883"/>
                </a:lnTo>
                <a:lnTo>
                  <a:pt x="1857740" y="980540"/>
                </a:lnTo>
                <a:lnTo>
                  <a:pt x="1904950" y="966856"/>
                </a:lnTo>
                <a:lnTo>
                  <a:pt x="1950268" y="948010"/>
                </a:lnTo>
                <a:lnTo>
                  <a:pt x="1993260" y="924185"/>
                </a:lnTo>
                <a:lnTo>
                  <a:pt x="2033493" y="895560"/>
                </a:lnTo>
                <a:lnTo>
                  <a:pt x="2070531" y="862317"/>
                </a:lnTo>
                <a:lnTo>
                  <a:pt x="2379459" y="551700"/>
                </a:lnTo>
                <a:lnTo>
                  <a:pt x="2416501" y="518457"/>
                </a:lnTo>
                <a:lnTo>
                  <a:pt x="2456736" y="489834"/>
                </a:lnTo>
                <a:lnTo>
                  <a:pt x="2499728" y="466012"/>
                </a:lnTo>
                <a:lnTo>
                  <a:pt x="2545045" y="447169"/>
                </a:lnTo>
                <a:lnTo>
                  <a:pt x="2592253" y="433487"/>
                </a:lnTo>
                <a:lnTo>
                  <a:pt x="2640919" y="425146"/>
                </a:lnTo>
                <a:lnTo>
                  <a:pt x="2690609" y="422325"/>
                </a:lnTo>
                <a:lnTo>
                  <a:pt x="3278251" y="422325"/>
                </a:lnTo>
                <a:lnTo>
                  <a:pt x="3278251" y="0"/>
                </a:lnTo>
                <a:close/>
              </a:path>
            </a:pathLst>
          </a:custGeom>
          <a:solidFill>
            <a:srgbClr val="FFE600"/>
          </a:solidFill>
          <a:ln>
            <a:noFill/>
          </a:ln>
        </p:spPr>
        <p:txBody>
          <a:bodyPr wrap="square" lIns="0" tIns="0" rIns="0" bIns="0" rtlCol="0"/>
          <a:lstStyle/>
          <a:p>
            <a:pPr defTabSz="368686"/>
            <a:endParaRPr sz="1452" dirty="0">
              <a:solidFill>
                <a:srgbClr val="FFBF22"/>
              </a:solidFill>
              <a:latin typeface="Calibri" panose="020F0502020204030204"/>
            </a:endParaRPr>
          </a:p>
        </p:txBody>
      </p:sp>
      <p:sp>
        <p:nvSpPr>
          <p:cNvPr id="18" name="object 21">
            <a:extLst>
              <a:ext uri="{FF2B5EF4-FFF2-40B4-BE49-F238E27FC236}">
                <a16:creationId xmlns:a16="http://schemas.microsoft.com/office/drawing/2014/main" id="{2EDC15B3-02D3-E144-849D-495D1E925D32}"/>
              </a:ext>
            </a:extLst>
          </p:cNvPr>
          <p:cNvSpPr txBox="1"/>
          <p:nvPr userDrawn="1"/>
        </p:nvSpPr>
        <p:spPr>
          <a:xfrm>
            <a:off x="6274714" y="2223666"/>
            <a:ext cx="991848" cy="368999"/>
          </a:xfrm>
          <a:prstGeom prst="rect">
            <a:avLst/>
          </a:prstGeom>
        </p:spPr>
        <p:txBody>
          <a:bodyPr vert="horz" wrap="square" lIns="0" tIns="22530" rIns="0" bIns="0" rtlCol="0">
            <a:spAutoFit/>
          </a:bodyPr>
          <a:lstStyle/>
          <a:p>
            <a:pPr marL="10241" marR="4097" defTabSz="368686">
              <a:lnSpc>
                <a:spcPts val="887"/>
              </a:lnSpc>
              <a:spcBef>
                <a:spcPts val="177"/>
              </a:spcBef>
            </a:pPr>
            <a:r>
              <a:rPr sz="806" b="1" dirty="0">
                <a:solidFill>
                  <a:srgbClr val="6D6E71"/>
                </a:solidFill>
                <a:latin typeface="HelveticaNeueLTPro-Blk"/>
                <a:cs typeface="HelveticaNeueLTPro-Blk"/>
              </a:rPr>
              <a:t>PANTONE </a:t>
            </a:r>
            <a:r>
              <a:rPr sz="806" b="1" spc="-12" dirty="0">
                <a:solidFill>
                  <a:srgbClr val="6D6E71"/>
                </a:solidFill>
                <a:latin typeface="HelveticaNeueLTPro-Blk"/>
                <a:cs typeface="HelveticaNeueLTPro-Blk"/>
              </a:rPr>
              <a:t>108  </a:t>
            </a:r>
            <a:r>
              <a:rPr sz="806" b="1" spc="4" dirty="0">
                <a:solidFill>
                  <a:srgbClr val="6D6E71"/>
                </a:solidFill>
                <a:latin typeface="HelveticaNeueLTPro-Blk"/>
                <a:cs typeface="HelveticaNeueLTPro-Blk"/>
              </a:rPr>
              <a:t>C:0 </a:t>
            </a:r>
            <a:r>
              <a:rPr sz="806" b="1" spc="8" dirty="0">
                <a:solidFill>
                  <a:srgbClr val="6D6E71"/>
                </a:solidFill>
                <a:latin typeface="HelveticaNeueLTPro-Blk"/>
                <a:cs typeface="HelveticaNeueLTPro-Blk"/>
              </a:rPr>
              <a:t>M:0 </a:t>
            </a:r>
            <a:r>
              <a:rPr sz="806" b="1" spc="-20" dirty="0">
                <a:solidFill>
                  <a:srgbClr val="6D6E71"/>
                </a:solidFill>
                <a:latin typeface="HelveticaNeueLTPro-Blk"/>
                <a:cs typeface="HelveticaNeueLTPro-Blk"/>
              </a:rPr>
              <a:t>Y:100</a:t>
            </a:r>
            <a:r>
              <a:rPr sz="806" b="1" spc="-69" dirty="0">
                <a:solidFill>
                  <a:srgbClr val="6D6E71"/>
                </a:solidFill>
                <a:latin typeface="HelveticaNeueLTPro-Blk"/>
                <a:cs typeface="HelveticaNeueLTPro-Blk"/>
              </a:rPr>
              <a:t> </a:t>
            </a:r>
            <a:r>
              <a:rPr sz="806" b="1" spc="4" dirty="0">
                <a:solidFill>
                  <a:srgbClr val="6D6E71"/>
                </a:solidFill>
                <a:latin typeface="HelveticaNeueLTPro-Blk"/>
                <a:cs typeface="HelveticaNeueLTPro-Blk"/>
              </a:rPr>
              <a:t>K:0  </a:t>
            </a:r>
            <a:r>
              <a:rPr sz="806" b="1" spc="8" dirty="0">
                <a:solidFill>
                  <a:srgbClr val="6D6E71"/>
                </a:solidFill>
                <a:latin typeface="HelveticaNeueLTPro-Blk"/>
                <a:cs typeface="HelveticaNeueLTPro-Blk"/>
              </a:rPr>
              <a:t>R:255 </a:t>
            </a:r>
            <a:r>
              <a:rPr sz="806" b="1" spc="4" dirty="0">
                <a:solidFill>
                  <a:srgbClr val="6D6E71"/>
                </a:solidFill>
                <a:latin typeface="HelveticaNeueLTPro-Blk"/>
                <a:cs typeface="HelveticaNeueLTPro-Blk"/>
              </a:rPr>
              <a:t>G:230</a:t>
            </a:r>
            <a:r>
              <a:rPr sz="806" b="1" spc="-40" dirty="0">
                <a:solidFill>
                  <a:srgbClr val="6D6E71"/>
                </a:solidFill>
                <a:latin typeface="HelveticaNeueLTPro-Blk"/>
                <a:cs typeface="HelveticaNeueLTPro-Blk"/>
              </a:rPr>
              <a:t> </a:t>
            </a:r>
            <a:r>
              <a:rPr sz="806" b="1" spc="8" dirty="0">
                <a:solidFill>
                  <a:srgbClr val="6D6E71"/>
                </a:solidFill>
                <a:latin typeface="HelveticaNeueLTPro-Blk"/>
                <a:cs typeface="HelveticaNeueLTPro-Blk"/>
              </a:rPr>
              <a:t>B:0</a:t>
            </a:r>
            <a:endParaRPr sz="806" dirty="0">
              <a:solidFill>
                <a:prstClr val="black"/>
              </a:solidFill>
              <a:latin typeface="HelveticaNeueLTPro-Blk"/>
              <a:cs typeface="HelveticaNeueLTPro-Blk"/>
            </a:endParaRPr>
          </a:p>
        </p:txBody>
      </p:sp>
      <p:sp>
        <p:nvSpPr>
          <p:cNvPr id="19" name="object 2">
            <a:extLst>
              <a:ext uri="{FF2B5EF4-FFF2-40B4-BE49-F238E27FC236}">
                <a16:creationId xmlns:a16="http://schemas.microsoft.com/office/drawing/2014/main" id="{D65B0A28-BEED-464F-B891-E16761BDB641}"/>
              </a:ext>
            </a:extLst>
          </p:cNvPr>
          <p:cNvSpPr txBox="1"/>
          <p:nvPr userDrawn="1"/>
        </p:nvSpPr>
        <p:spPr>
          <a:xfrm>
            <a:off x="6159910" y="285729"/>
            <a:ext cx="5443296" cy="1513253"/>
          </a:xfrm>
          <a:prstGeom prst="rect">
            <a:avLst/>
          </a:prstGeom>
        </p:spPr>
        <p:txBody>
          <a:bodyPr vert="horz" wrap="square" lIns="0" tIns="10241" rIns="0" bIns="0" rtlCol="0">
            <a:spAutoFit/>
          </a:bodyPr>
          <a:lstStyle/>
          <a:p>
            <a:pPr marL="10241" defTabSz="737372">
              <a:spcBef>
                <a:spcPts val="81"/>
              </a:spcBef>
            </a:pPr>
            <a:r>
              <a:rPr sz="968" b="1" dirty="0">
                <a:solidFill>
                  <a:srgbClr val="FFBF22"/>
                </a:solidFill>
                <a:latin typeface="HelveticaNeueLTPro-Hv"/>
                <a:cs typeface="HelveticaNeueLTPro-Hv"/>
              </a:rPr>
              <a:t>Primary</a:t>
            </a:r>
            <a:endParaRPr sz="968" dirty="0">
              <a:solidFill>
                <a:srgbClr val="FFBF22"/>
              </a:solidFill>
              <a:latin typeface="HelveticaNeueLTPro-Hv"/>
              <a:cs typeface="HelveticaNeueLTPro-Hv"/>
            </a:endParaRPr>
          </a:p>
          <a:p>
            <a:pPr marL="10241" marR="4097" defTabSz="737372">
              <a:lnSpc>
                <a:spcPct val="125000"/>
              </a:lnSpc>
              <a:spcAft>
                <a:spcPts val="484"/>
              </a:spcAft>
            </a:pPr>
            <a:r>
              <a:rPr sz="806" spc="-4" dirty="0">
                <a:solidFill>
                  <a:srgbClr val="6D6E71"/>
                </a:solidFill>
                <a:latin typeface="HelveticaNeueLTPro-Roman"/>
                <a:cs typeface="HelveticaNeueLTPro-Roman"/>
              </a:rPr>
              <a:t>This </a:t>
            </a:r>
            <a:r>
              <a:rPr sz="806" spc="-8" dirty="0">
                <a:solidFill>
                  <a:srgbClr val="6D6E71"/>
                </a:solidFill>
                <a:latin typeface="HelveticaNeueLTPro-Roman"/>
                <a:cs typeface="HelveticaNeueLTPro-Roman"/>
              </a:rPr>
              <a:t>palette </a:t>
            </a:r>
            <a:r>
              <a:rPr sz="806" spc="-4" dirty="0">
                <a:solidFill>
                  <a:srgbClr val="6D6E71"/>
                </a:solidFill>
                <a:latin typeface="HelveticaNeueLTPro-Roman"/>
                <a:cs typeface="HelveticaNeueLTPro-Roman"/>
              </a:rPr>
              <a:t>consists </a:t>
            </a:r>
            <a:r>
              <a:rPr sz="806" spc="-8" dirty="0">
                <a:solidFill>
                  <a:srgbClr val="6D6E71"/>
                </a:solidFill>
                <a:latin typeface="HelveticaNeueLTPro-Roman"/>
                <a:cs typeface="HelveticaNeueLTPro-Roman"/>
              </a:rPr>
              <a:t>of </a:t>
            </a:r>
            <a:r>
              <a:rPr sz="806" spc="-12" dirty="0">
                <a:solidFill>
                  <a:srgbClr val="6D6E71"/>
                </a:solidFill>
                <a:latin typeface="HelveticaNeueLTPro-Roman"/>
                <a:cs typeface="HelveticaNeueLTPro-Roman"/>
              </a:rPr>
              <a:t>yellows </a:t>
            </a:r>
            <a:r>
              <a:rPr sz="806" spc="-4" dirty="0">
                <a:solidFill>
                  <a:srgbClr val="6D6E71"/>
                </a:solidFill>
                <a:latin typeface="HelveticaNeueLTPro-Roman"/>
                <a:cs typeface="HelveticaNeueLTPro-Roman"/>
              </a:rPr>
              <a:t>and oranges, which </a:t>
            </a:r>
            <a:r>
              <a:rPr sz="806" spc="-12" dirty="0">
                <a:solidFill>
                  <a:srgbClr val="6D6E71"/>
                </a:solidFill>
                <a:latin typeface="HelveticaNeueLTPro-Roman"/>
                <a:cs typeface="HelveticaNeueLTPro-Roman"/>
              </a:rPr>
              <a:t>radiate </a:t>
            </a:r>
            <a:r>
              <a:rPr sz="806" spc="-8" dirty="0">
                <a:solidFill>
                  <a:srgbClr val="6D6E71"/>
                </a:solidFill>
                <a:latin typeface="HelveticaNeueLTPro-Roman"/>
                <a:cs typeface="HelveticaNeueLTPro-Roman"/>
              </a:rPr>
              <a:t>ambition, </a:t>
            </a:r>
            <a:r>
              <a:rPr sz="806" spc="-12" dirty="0">
                <a:solidFill>
                  <a:srgbClr val="6D6E71"/>
                </a:solidFill>
                <a:latin typeface="HelveticaNeueLTPro-Roman"/>
                <a:cs typeface="HelveticaNeueLTPro-Roman"/>
              </a:rPr>
              <a:t>energy, </a:t>
            </a:r>
            <a:r>
              <a:rPr sz="806" spc="-8" dirty="0">
                <a:solidFill>
                  <a:srgbClr val="6D6E71"/>
                </a:solidFill>
                <a:latin typeface="HelveticaNeueLTPro-Roman"/>
                <a:cs typeface="HelveticaNeueLTPro-Roman"/>
              </a:rPr>
              <a:t>warmth, </a:t>
            </a:r>
            <a:r>
              <a:rPr sz="806" spc="-4" dirty="0">
                <a:solidFill>
                  <a:srgbClr val="6D6E71"/>
                </a:solidFill>
                <a:latin typeface="HelveticaNeueLTPro-Roman"/>
                <a:cs typeface="HelveticaNeueLTPro-Roman"/>
              </a:rPr>
              <a:t>passion and </a:t>
            </a:r>
            <a:r>
              <a:rPr sz="806" spc="-12" dirty="0">
                <a:solidFill>
                  <a:srgbClr val="6D6E71"/>
                </a:solidFill>
                <a:latin typeface="HelveticaNeueLTPro-Roman"/>
                <a:cs typeface="HelveticaNeueLTPro-Roman"/>
              </a:rPr>
              <a:t>originality. </a:t>
            </a:r>
            <a:br>
              <a:rPr lang="en-GB" sz="806" spc="-12" dirty="0">
                <a:solidFill>
                  <a:srgbClr val="6D6E71"/>
                </a:solidFill>
                <a:latin typeface="HelveticaNeueLTPro-Roman"/>
                <a:cs typeface="HelveticaNeueLTPro-Roman"/>
              </a:rPr>
            </a:br>
            <a:r>
              <a:rPr sz="806" spc="-32" dirty="0">
                <a:solidFill>
                  <a:srgbClr val="6D6E71"/>
                </a:solidFill>
                <a:latin typeface="HelveticaNeueLTPro-Roman"/>
                <a:cs typeface="HelveticaNeueLTPro-Roman"/>
              </a:rPr>
              <a:t>You </a:t>
            </a:r>
            <a:r>
              <a:rPr sz="806" dirty="0">
                <a:solidFill>
                  <a:srgbClr val="6D6E71"/>
                </a:solidFill>
                <a:latin typeface="HelveticaNeueLTPro-Roman"/>
                <a:cs typeface="HelveticaNeueLTPro-Roman"/>
              </a:rPr>
              <a:t>can </a:t>
            </a:r>
            <a:r>
              <a:rPr sz="806" spc="-4" dirty="0">
                <a:solidFill>
                  <a:srgbClr val="6D6E71"/>
                </a:solidFill>
                <a:latin typeface="HelveticaNeueLTPro-Roman"/>
                <a:cs typeface="HelveticaNeueLTPro-Roman"/>
              </a:rPr>
              <a:t>use </a:t>
            </a:r>
            <a:r>
              <a:rPr sz="806" dirty="0">
                <a:solidFill>
                  <a:srgbClr val="6D6E71"/>
                </a:solidFill>
                <a:latin typeface="HelveticaNeueLTPro-Roman"/>
                <a:cs typeface="HelveticaNeueLTPro-Roman"/>
              </a:rPr>
              <a:t>a </a:t>
            </a:r>
            <a:r>
              <a:rPr sz="806" spc="-8" dirty="0">
                <a:solidFill>
                  <a:srgbClr val="6D6E71"/>
                </a:solidFill>
                <a:latin typeface="HelveticaNeueLTPro-Roman"/>
                <a:cs typeface="HelveticaNeueLTPro-Roman"/>
              </a:rPr>
              <a:t>gradient of </a:t>
            </a:r>
            <a:r>
              <a:rPr sz="806" spc="-4" dirty="0">
                <a:solidFill>
                  <a:srgbClr val="6D6E71"/>
                </a:solidFill>
                <a:latin typeface="HelveticaNeueLTPro-Roman"/>
                <a:cs typeface="HelveticaNeueLTPro-Roman"/>
              </a:rPr>
              <a:t>these </a:t>
            </a:r>
            <a:r>
              <a:rPr sz="806" spc="-4" dirty="0" err="1">
                <a:solidFill>
                  <a:srgbClr val="6D6E71"/>
                </a:solidFill>
                <a:latin typeface="HelveticaNeueLTPro-Roman"/>
                <a:cs typeface="HelveticaNeueLTPro-Roman"/>
              </a:rPr>
              <a:t>colours</a:t>
            </a:r>
            <a:r>
              <a:rPr sz="806" spc="-4" dirty="0">
                <a:solidFill>
                  <a:srgbClr val="6D6E71"/>
                </a:solidFill>
                <a:latin typeface="HelveticaNeueLTPro-Roman"/>
                <a:cs typeface="HelveticaNeueLTPro-Roman"/>
              </a:rPr>
              <a:t> </a:t>
            </a:r>
            <a:r>
              <a:rPr sz="806" dirty="0">
                <a:solidFill>
                  <a:srgbClr val="6D6E71"/>
                </a:solidFill>
                <a:latin typeface="HelveticaNeueLTPro-Roman"/>
                <a:cs typeface="HelveticaNeueLTPro-Roman"/>
              </a:rPr>
              <a:t>as a</a:t>
            </a:r>
            <a:r>
              <a:rPr sz="806" spc="20" dirty="0">
                <a:solidFill>
                  <a:srgbClr val="6D6E71"/>
                </a:solidFill>
                <a:latin typeface="HelveticaNeueLTPro-Roman"/>
                <a:cs typeface="HelveticaNeueLTPro-Roman"/>
              </a:rPr>
              <a:t> </a:t>
            </a:r>
            <a:r>
              <a:rPr sz="806" spc="-8" dirty="0">
                <a:solidFill>
                  <a:srgbClr val="6D6E71"/>
                </a:solidFill>
                <a:latin typeface="HelveticaNeueLTPro-Roman"/>
                <a:cs typeface="HelveticaNeueLTPro-Roman"/>
              </a:rPr>
              <a:t>background.</a:t>
            </a:r>
            <a:endParaRPr lang="en-GB" sz="806" spc="-8" dirty="0">
              <a:solidFill>
                <a:srgbClr val="6D6E71"/>
              </a:solidFill>
              <a:latin typeface="HelveticaNeueLTPro-Roman"/>
              <a:cs typeface="HelveticaNeueLTPro-Roman"/>
            </a:endParaRPr>
          </a:p>
          <a:p>
            <a:pPr marL="10241" defTabSz="737372"/>
            <a:r>
              <a:rPr lang="en-GB" sz="968" b="1" dirty="0">
                <a:solidFill>
                  <a:srgbClr val="FFBF22"/>
                </a:solidFill>
                <a:latin typeface="HelveticaNeueLTPro-Hv"/>
                <a:cs typeface="HelveticaNeueLTPro-Hv"/>
              </a:rPr>
              <a:t>Complementary</a:t>
            </a:r>
            <a:endParaRPr lang="en-GB" sz="968" dirty="0">
              <a:solidFill>
                <a:srgbClr val="FFBF22"/>
              </a:solidFill>
              <a:latin typeface="HelveticaNeueLTPro-Hv"/>
              <a:cs typeface="HelveticaNeueLTPro-Hv"/>
            </a:endParaRPr>
          </a:p>
          <a:p>
            <a:pPr marL="10241" marR="4097" defTabSz="737372">
              <a:lnSpc>
                <a:spcPct val="125000"/>
              </a:lnSpc>
              <a:spcAft>
                <a:spcPts val="484"/>
              </a:spcAft>
            </a:pPr>
            <a:r>
              <a:rPr lang="en-GB" sz="806" spc="-8" dirty="0">
                <a:solidFill>
                  <a:srgbClr val="6D6E71"/>
                </a:solidFill>
                <a:latin typeface="HelveticaNeueLTPro-Roman"/>
                <a:cs typeface="HelveticaNeueLTPro-Roman"/>
              </a:rPr>
              <a:t>Consisting of </a:t>
            </a:r>
            <a:r>
              <a:rPr lang="en-GB" sz="806" dirty="0">
                <a:solidFill>
                  <a:srgbClr val="6D6E71"/>
                </a:solidFill>
                <a:latin typeface="HelveticaNeueLTPro-Roman"/>
                <a:cs typeface="HelveticaNeueLTPro-Roman"/>
              </a:rPr>
              <a:t>a secondary </a:t>
            </a:r>
            <a:r>
              <a:rPr lang="en-GB" sz="806" spc="-4" dirty="0">
                <a:solidFill>
                  <a:srgbClr val="6D6E71"/>
                </a:solidFill>
                <a:latin typeface="HelveticaNeueLTPro-Roman"/>
                <a:cs typeface="HelveticaNeueLTPro-Roman"/>
              </a:rPr>
              <a:t>and </a:t>
            </a:r>
            <a:r>
              <a:rPr lang="en-GB" sz="806" dirty="0">
                <a:solidFill>
                  <a:srgbClr val="6D6E71"/>
                </a:solidFill>
                <a:latin typeface="HelveticaNeueLTPro-Roman"/>
                <a:cs typeface="HelveticaNeueLTPro-Roman"/>
              </a:rPr>
              <a:t>tertiary </a:t>
            </a:r>
            <a:r>
              <a:rPr lang="en-GB" sz="806" spc="-8" dirty="0">
                <a:solidFill>
                  <a:srgbClr val="6D6E71"/>
                </a:solidFill>
                <a:latin typeface="HelveticaNeueLTPro-Roman"/>
                <a:cs typeface="HelveticaNeueLTPro-Roman"/>
              </a:rPr>
              <a:t>palette. </a:t>
            </a:r>
            <a:r>
              <a:rPr lang="en-GB" sz="806" spc="-4" dirty="0">
                <a:solidFill>
                  <a:srgbClr val="6D6E71"/>
                </a:solidFill>
                <a:latin typeface="HelveticaNeueLTPro-Roman"/>
                <a:cs typeface="HelveticaNeueLTPro-Roman"/>
              </a:rPr>
              <a:t>This </a:t>
            </a:r>
            <a:r>
              <a:rPr lang="en-GB" sz="806" spc="-8" dirty="0">
                <a:solidFill>
                  <a:srgbClr val="6D6E71"/>
                </a:solidFill>
                <a:latin typeface="HelveticaNeueLTPro-Roman"/>
                <a:cs typeface="HelveticaNeueLTPro-Roman"/>
              </a:rPr>
              <a:t>palette </a:t>
            </a:r>
            <a:r>
              <a:rPr lang="en-GB" sz="806" spc="-4" dirty="0">
                <a:solidFill>
                  <a:srgbClr val="6D6E71"/>
                </a:solidFill>
                <a:latin typeface="HelveticaNeueLTPro-Roman"/>
                <a:cs typeface="HelveticaNeueLTPro-Roman"/>
              </a:rPr>
              <a:t>is  designed </a:t>
            </a:r>
            <a:r>
              <a:rPr lang="en-GB" sz="806" spc="-12" dirty="0">
                <a:solidFill>
                  <a:srgbClr val="6D6E71"/>
                </a:solidFill>
                <a:latin typeface="HelveticaNeueLTPro-Roman"/>
                <a:cs typeface="HelveticaNeueLTPro-Roman"/>
              </a:rPr>
              <a:t>to </a:t>
            </a:r>
            <a:r>
              <a:rPr lang="en-GB" sz="806" dirty="0">
                <a:solidFill>
                  <a:srgbClr val="6D6E71"/>
                </a:solidFill>
                <a:latin typeface="HelveticaNeueLTPro-Roman"/>
                <a:cs typeface="HelveticaNeueLTPro-Roman"/>
              </a:rPr>
              <a:t>support </a:t>
            </a:r>
            <a:r>
              <a:rPr lang="en-GB" sz="806" spc="-8" dirty="0">
                <a:solidFill>
                  <a:srgbClr val="6D6E71"/>
                </a:solidFill>
                <a:latin typeface="HelveticaNeueLTPro-Roman"/>
                <a:cs typeface="HelveticaNeueLTPro-Roman"/>
              </a:rPr>
              <a:t>the </a:t>
            </a:r>
            <a:r>
              <a:rPr lang="en-GB" sz="806" dirty="0">
                <a:solidFill>
                  <a:srgbClr val="6D6E71"/>
                </a:solidFill>
                <a:latin typeface="HelveticaNeueLTPro-Roman"/>
                <a:cs typeface="HelveticaNeueLTPro-Roman"/>
              </a:rPr>
              <a:t>primary </a:t>
            </a:r>
            <a:r>
              <a:rPr lang="en-GB" sz="806" spc="-4" dirty="0">
                <a:solidFill>
                  <a:srgbClr val="6D6E71"/>
                </a:solidFill>
                <a:latin typeface="HelveticaNeueLTPro-Roman"/>
                <a:cs typeface="HelveticaNeueLTPro-Roman"/>
              </a:rPr>
              <a:t>colours. Ideal if </a:t>
            </a:r>
            <a:r>
              <a:rPr lang="en-GB" sz="806" spc="-8" dirty="0">
                <a:solidFill>
                  <a:srgbClr val="6D6E71"/>
                </a:solidFill>
                <a:latin typeface="HelveticaNeueLTPro-Roman"/>
                <a:cs typeface="HelveticaNeueLTPro-Roman"/>
              </a:rPr>
              <a:t>communication </a:t>
            </a:r>
            <a:r>
              <a:rPr lang="en-GB" sz="806" dirty="0">
                <a:solidFill>
                  <a:srgbClr val="6D6E71"/>
                </a:solidFill>
                <a:latin typeface="HelveticaNeueLTPro-Roman"/>
                <a:cs typeface="HelveticaNeueLTPro-Roman"/>
              </a:rPr>
              <a:t>needs further </a:t>
            </a:r>
            <a:r>
              <a:rPr lang="en-GB" sz="806" spc="-4" dirty="0">
                <a:solidFill>
                  <a:srgbClr val="6D6E71"/>
                </a:solidFill>
                <a:latin typeface="HelveticaNeueLTPro-Roman"/>
                <a:cs typeface="HelveticaNeueLTPro-Roman"/>
              </a:rPr>
              <a:t>stand out. </a:t>
            </a:r>
            <a:r>
              <a:rPr lang="en-GB" sz="806" dirty="0">
                <a:solidFill>
                  <a:srgbClr val="6D6E71"/>
                </a:solidFill>
                <a:latin typeface="HelveticaNeueLTPro-Roman"/>
                <a:cs typeface="HelveticaNeueLTPro-Roman"/>
              </a:rPr>
              <a:t>These </a:t>
            </a:r>
            <a:r>
              <a:rPr lang="en-GB" sz="806" spc="-4" dirty="0">
                <a:solidFill>
                  <a:srgbClr val="6D6E71"/>
                </a:solidFill>
                <a:latin typeface="HelveticaNeueLTPro-Roman"/>
                <a:cs typeface="HelveticaNeueLTPro-Roman"/>
              </a:rPr>
              <a:t>colours are also designed </a:t>
            </a:r>
            <a:r>
              <a:rPr lang="en-GB" sz="806" spc="-8" dirty="0">
                <a:solidFill>
                  <a:srgbClr val="6D6E71"/>
                </a:solidFill>
                <a:latin typeface="HelveticaNeueLTPro-Roman"/>
                <a:cs typeface="HelveticaNeueLTPro-Roman"/>
              </a:rPr>
              <a:t>with </a:t>
            </a:r>
            <a:r>
              <a:rPr lang="en-GB" sz="806" dirty="0">
                <a:solidFill>
                  <a:srgbClr val="6D6E71"/>
                </a:solidFill>
                <a:latin typeface="HelveticaNeueLTPro-Roman"/>
                <a:cs typeface="HelveticaNeueLTPro-Roman"/>
              </a:rPr>
              <a:t>charts </a:t>
            </a:r>
            <a:r>
              <a:rPr lang="en-GB" sz="806" spc="-4" dirty="0">
                <a:solidFill>
                  <a:srgbClr val="6D6E71"/>
                </a:solidFill>
                <a:latin typeface="HelveticaNeueLTPro-Roman"/>
                <a:cs typeface="HelveticaNeueLTPro-Roman"/>
              </a:rPr>
              <a:t>and colour </a:t>
            </a:r>
            <a:r>
              <a:rPr lang="en-GB" sz="806" spc="-8" dirty="0">
                <a:solidFill>
                  <a:srgbClr val="6D6E71"/>
                </a:solidFill>
                <a:latin typeface="HelveticaNeueLTPro-Roman"/>
                <a:cs typeface="HelveticaNeueLTPro-Roman"/>
              </a:rPr>
              <a:t>coordinating </a:t>
            </a:r>
            <a:r>
              <a:rPr lang="en-GB" sz="806" spc="-4" dirty="0">
                <a:solidFill>
                  <a:srgbClr val="6D6E71"/>
                </a:solidFill>
                <a:latin typeface="HelveticaNeueLTPro-Roman"/>
                <a:cs typeface="HelveticaNeueLTPro-Roman"/>
              </a:rPr>
              <a:t>in</a:t>
            </a:r>
            <a:r>
              <a:rPr lang="en-GB" sz="806" spc="8" dirty="0">
                <a:solidFill>
                  <a:srgbClr val="6D6E71"/>
                </a:solidFill>
                <a:latin typeface="HelveticaNeueLTPro-Roman"/>
                <a:cs typeface="HelveticaNeueLTPro-Roman"/>
              </a:rPr>
              <a:t> </a:t>
            </a:r>
            <a:r>
              <a:rPr lang="en-GB" sz="806" spc="-8" dirty="0">
                <a:solidFill>
                  <a:srgbClr val="6D6E71"/>
                </a:solidFill>
                <a:latin typeface="HelveticaNeueLTPro-Roman"/>
                <a:cs typeface="HelveticaNeueLTPro-Roman"/>
              </a:rPr>
              <a:t>mind.</a:t>
            </a:r>
          </a:p>
          <a:p>
            <a:pPr marL="10241" defTabSz="737372">
              <a:spcBef>
                <a:spcPts val="81"/>
              </a:spcBef>
            </a:pPr>
            <a:r>
              <a:rPr lang="en-GB" sz="968" b="1" spc="-4" dirty="0">
                <a:solidFill>
                  <a:srgbClr val="FFBF22"/>
                </a:solidFill>
                <a:latin typeface="HelveticaNeueLTPro-Hv"/>
                <a:cs typeface="HelveticaNeueLTPro-Hv"/>
              </a:rPr>
              <a:t>Note</a:t>
            </a:r>
            <a:endParaRPr lang="en-GB" sz="968" dirty="0">
              <a:solidFill>
                <a:srgbClr val="FFBF22"/>
              </a:solidFill>
              <a:latin typeface="HelveticaNeueLTPro-Hv"/>
              <a:cs typeface="HelveticaNeueLTPro-Hv"/>
            </a:endParaRPr>
          </a:p>
          <a:p>
            <a:pPr marL="10241" marR="4097" defTabSz="737372">
              <a:lnSpc>
                <a:spcPct val="125000"/>
              </a:lnSpc>
            </a:pPr>
            <a:r>
              <a:rPr lang="en-GB" sz="806" spc="-4" dirty="0">
                <a:solidFill>
                  <a:srgbClr val="6D6E71"/>
                </a:solidFill>
                <a:latin typeface="HelveticaNeueLTPro-Roman"/>
                <a:cs typeface="HelveticaNeueLTPro-Roman"/>
              </a:rPr>
              <a:t>When using </a:t>
            </a:r>
            <a:r>
              <a:rPr lang="en-GB" sz="806" spc="-8" dirty="0">
                <a:solidFill>
                  <a:srgbClr val="6D6E71"/>
                </a:solidFill>
                <a:latin typeface="HelveticaNeueLTPro-Roman"/>
                <a:cs typeface="HelveticaNeueLTPro-Roman"/>
              </a:rPr>
              <a:t>the </a:t>
            </a:r>
            <a:r>
              <a:rPr lang="en-GB" sz="806" spc="-4" dirty="0">
                <a:solidFill>
                  <a:srgbClr val="6D6E71"/>
                </a:solidFill>
                <a:latin typeface="HelveticaNeueLTPro-Roman"/>
                <a:cs typeface="HelveticaNeueLTPro-Roman"/>
              </a:rPr>
              <a:t>colour </a:t>
            </a:r>
            <a:r>
              <a:rPr lang="en-GB" sz="806" spc="-8" dirty="0">
                <a:solidFill>
                  <a:srgbClr val="6D6E71"/>
                </a:solidFill>
                <a:latin typeface="HelveticaNeueLTPro-Roman"/>
                <a:cs typeface="HelveticaNeueLTPro-Roman"/>
              </a:rPr>
              <a:t>palette, refer </a:t>
            </a:r>
            <a:r>
              <a:rPr lang="en-GB" sz="806" spc="-12" dirty="0">
                <a:solidFill>
                  <a:srgbClr val="6D6E71"/>
                </a:solidFill>
                <a:latin typeface="HelveticaNeueLTPro-Roman"/>
                <a:cs typeface="HelveticaNeueLTPro-Roman"/>
              </a:rPr>
              <a:t>to </a:t>
            </a:r>
            <a:r>
              <a:rPr lang="en-GB" sz="806" spc="-8" dirty="0">
                <a:solidFill>
                  <a:srgbClr val="6D6E71"/>
                </a:solidFill>
                <a:latin typeface="HelveticaNeueLTPro-Roman"/>
                <a:cs typeface="HelveticaNeueLTPro-Roman"/>
              </a:rPr>
              <a:t>the templates provided  </a:t>
            </a:r>
            <a:r>
              <a:rPr lang="en-GB" sz="806" spc="-4" dirty="0">
                <a:solidFill>
                  <a:srgbClr val="6D6E71"/>
                </a:solidFill>
                <a:latin typeface="HelveticaNeueLTPro-Roman"/>
                <a:cs typeface="HelveticaNeueLTPro-Roman"/>
              </a:rPr>
              <a:t>and </a:t>
            </a:r>
            <a:r>
              <a:rPr lang="en-GB" sz="806" dirty="0">
                <a:solidFill>
                  <a:srgbClr val="6D6E71"/>
                </a:solidFill>
                <a:latin typeface="HelveticaNeueLTPro-Roman"/>
                <a:cs typeface="HelveticaNeueLTPro-Roman"/>
              </a:rPr>
              <a:t>be </a:t>
            </a:r>
            <a:r>
              <a:rPr lang="en-GB" sz="806" spc="-8" dirty="0">
                <a:solidFill>
                  <a:srgbClr val="6D6E71"/>
                </a:solidFill>
                <a:latin typeface="HelveticaNeueLTPro-Roman"/>
                <a:cs typeface="HelveticaNeueLTPro-Roman"/>
              </a:rPr>
              <a:t>mindful of </a:t>
            </a:r>
            <a:r>
              <a:rPr lang="en-GB" sz="806" spc="-4" dirty="0">
                <a:solidFill>
                  <a:srgbClr val="6D6E71"/>
                </a:solidFill>
                <a:latin typeface="HelveticaNeueLTPro-Roman"/>
                <a:cs typeface="HelveticaNeueLTPro-Roman"/>
              </a:rPr>
              <a:t>using </a:t>
            </a:r>
            <a:r>
              <a:rPr lang="en-GB" sz="806" spc="-8" dirty="0">
                <a:solidFill>
                  <a:srgbClr val="6D6E71"/>
                </a:solidFill>
                <a:latin typeface="HelveticaNeueLTPro-Roman"/>
                <a:cs typeface="HelveticaNeueLTPro-Roman"/>
              </a:rPr>
              <a:t>too many </a:t>
            </a:r>
            <a:r>
              <a:rPr lang="en-GB" sz="806" spc="-4" dirty="0">
                <a:solidFill>
                  <a:srgbClr val="6D6E71"/>
                </a:solidFill>
                <a:latin typeface="HelveticaNeueLTPro-Roman"/>
                <a:cs typeface="HelveticaNeueLTPro-Roman"/>
              </a:rPr>
              <a:t>colours on one </a:t>
            </a:r>
            <a:br>
              <a:rPr lang="en-GB" sz="806" spc="-4" dirty="0">
                <a:solidFill>
                  <a:srgbClr val="6D6E71"/>
                </a:solidFill>
                <a:latin typeface="HelveticaNeueLTPro-Roman"/>
                <a:cs typeface="HelveticaNeueLTPro-Roman"/>
              </a:rPr>
            </a:br>
            <a:r>
              <a:rPr lang="en-GB" sz="806" spc="-4" dirty="0">
                <a:solidFill>
                  <a:srgbClr val="6D6E71"/>
                </a:solidFill>
                <a:latin typeface="HelveticaNeueLTPro-Roman"/>
                <a:cs typeface="HelveticaNeueLTPro-Roman"/>
              </a:rPr>
              <a:t>piece </a:t>
            </a:r>
            <a:r>
              <a:rPr lang="en-GB" sz="806" spc="-8" dirty="0">
                <a:solidFill>
                  <a:srgbClr val="6D6E71"/>
                </a:solidFill>
                <a:latin typeface="HelveticaNeueLTPro-Roman"/>
                <a:cs typeface="HelveticaNeueLTPro-Roman"/>
              </a:rPr>
              <a:t>of communication. </a:t>
            </a:r>
            <a:r>
              <a:rPr lang="en-GB" sz="806" spc="-12" dirty="0">
                <a:solidFill>
                  <a:srgbClr val="6D6E71"/>
                </a:solidFill>
                <a:latin typeface="HelveticaNeueLTPro-Roman"/>
                <a:cs typeface="HelveticaNeueLTPro-Roman"/>
              </a:rPr>
              <a:t>Make </a:t>
            </a:r>
            <a:r>
              <a:rPr lang="en-GB" sz="806" spc="-4" dirty="0">
                <a:solidFill>
                  <a:srgbClr val="6D6E71"/>
                </a:solidFill>
                <a:latin typeface="HelveticaNeueLTPro-Roman"/>
                <a:cs typeface="HelveticaNeueLTPro-Roman"/>
              </a:rPr>
              <a:t>sure </a:t>
            </a:r>
            <a:r>
              <a:rPr lang="en-GB" sz="806" spc="-8" dirty="0">
                <a:solidFill>
                  <a:srgbClr val="6D6E71"/>
                </a:solidFill>
                <a:latin typeface="HelveticaNeueLTPro-Roman"/>
                <a:cs typeface="HelveticaNeueLTPro-Roman"/>
              </a:rPr>
              <a:t>the copy </a:t>
            </a:r>
            <a:r>
              <a:rPr lang="en-GB" sz="806" spc="-4" dirty="0">
                <a:solidFill>
                  <a:srgbClr val="6D6E71"/>
                </a:solidFill>
                <a:latin typeface="HelveticaNeueLTPro-Roman"/>
                <a:cs typeface="HelveticaNeueLTPro-Roman"/>
              </a:rPr>
              <a:t>and </a:t>
            </a:r>
            <a:r>
              <a:rPr lang="en-GB" sz="806" dirty="0">
                <a:solidFill>
                  <a:srgbClr val="6D6E71"/>
                </a:solidFill>
                <a:latin typeface="HelveticaNeueLTPro-Roman"/>
                <a:cs typeface="HelveticaNeueLTPro-Roman"/>
              </a:rPr>
              <a:t>imagery </a:t>
            </a:r>
            <a:r>
              <a:rPr lang="en-GB" sz="806" spc="-4" dirty="0">
                <a:solidFill>
                  <a:srgbClr val="6D6E71"/>
                </a:solidFill>
                <a:latin typeface="HelveticaNeueLTPro-Roman"/>
                <a:cs typeface="HelveticaNeueLTPro-Roman"/>
              </a:rPr>
              <a:t>are </a:t>
            </a:r>
            <a:r>
              <a:rPr lang="en-GB" sz="806" spc="-8" dirty="0">
                <a:solidFill>
                  <a:srgbClr val="6D6E71"/>
                </a:solidFill>
                <a:latin typeface="HelveticaNeueLTPro-Roman"/>
                <a:cs typeface="HelveticaNeueLTPro-Roman"/>
              </a:rPr>
              <a:t>legible </a:t>
            </a:r>
            <a:r>
              <a:rPr lang="en-GB" sz="806" spc="-4" dirty="0">
                <a:solidFill>
                  <a:srgbClr val="6D6E71"/>
                </a:solidFill>
                <a:latin typeface="HelveticaNeueLTPro-Roman"/>
                <a:cs typeface="HelveticaNeueLTPro-Roman"/>
              </a:rPr>
              <a:t>and </a:t>
            </a:r>
            <a:r>
              <a:rPr lang="en-GB" sz="806" spc="-8" dirty="0">
                <a:solidFill>
                  <a:srgbClr val="6D6E71"/>
                </a:solidFill>
                <a:latin typeface="HelveticaNeueLTPro-Roman"/>
                <a:cs typeface="HelveticaNeueLTPro-Roman"/>
              </a:rPr>
              <a:t>that </a:t>
            </a:r>
            <a:r>
              <a:rPr lang="en-GB" sz="806" spc="-4" dirty="0">
                <a:solidFill>
                  <a:srgbClr val="6D6E71"/>
                </a:solidFill>
                <a:latin typeface="HelveticaNeueLTPro-Roman"/>
                <a:cs typeface="HelveticaNeueLTPro-Roman"/>
              </a:rPr>
              <a:t>colours are used</a:t>
            </a:r>
            <a:r>
              <a:rPr lang="en-GB" sz="806" spc="16" dirty="0">
                <a:solidFill>
                  <a:srgbClr val="6D6E71"/>
                </a:solidFill>
                <a:latin typeface="HelveticaNeueLTPro-Roman"/>
                <a:cs typeface="HelveticaNeueLTPro-Roman"/>
              </a:rPr>
              <a:t> </a:t>
            </a:r>
            <a:r>
              <a:rPr lang="en-GB" sz="806" spc="-12" dirty="0">
                <a:solidFill>
                  <a:srgbClr val="6D6E71"/>
                </a:solidFill>
                <a:latin typeface="HelveticaNeueLTPro-Roman"/>
                <a:cs typeface="HelveticaNeueLTPro-Roman"/>
              </a:rPr>
              <a:t>sparingly.</a:t>
            </a:r>
            <a:endParaRPr lang="en-GB" sz="806" dirty="0">
              <a:solidFill>
                <a:prstClr val="black"/>
              </a:solidFill>
              <a:latin typeface="HelveticaNeueLTPro-Roman"/>
              <a:cs typeface="HelveticaNeueLTPro-Roman"/>
            </a:endParaRPr>
          </a:p>
        </p:txBody>
      </p:sp>
      <p:sp>
        <p:nvSpPr>
          <p:cNvPr id="20" name="Rectangle 19">
            <a:extLst>
              <a:ext uri="{FF2B5EF4-FFF2-40B4-BE49-F238E27FC236}">
                <a16:creationId xmlns:a16="http://schemas.microsoft.com/office/drawing/2014/main" id="{1A785225-9A48-D846-BA65-07C0DF0D6E51}"/>
              </a:ext>
            </a:extLst>
          </p:cNvPr>
          <p:cNvSpPr/>
          <p:nvPr userDrawn="1"/>
        </p:nvSpPr>
        <p:spPr>
          <a:xfrm>
            <a:off x="6096000" y="1980046"/>
            <a:ext cx="579646" cy="216341"/>
          </a:xfrm>
          <a:prstGeom prst="rect">
            <a:avLst/>
          </a:prstGeom>
        </p:spPr>
        <p:txBody>
          <a:bodyPr wrap="none">
            <a:spAutoFit/>
          </a:bodyPr>
          <a:lstStyle/>
          <a:p>
            <a:pPr marL="10241" defTabSz="737372">
              <a:spcBef>
                <a:spcPts val="81"/>
              </a:spcBef>
            </a:pPr>
            <a:r>
              <a:rPr lang="en-GB" sz="806" b="1" dirty="0">
                <a:solidFill>
                  <a:srgbClr val="FFBF22"/>
                </a:solidFill>
                <a:latin typeface="HelveticaNeueLTPro-Hv"/>
                <a:cs typeface="HelveticaNeueLTPro-Hv"/>
              </a:rPr>
              <a:t>Primary</a:t>
            </a:r>
            <a:endParaRPr lang="en-GB" sz="806" dirty="0">
              <a:solidFill>
                <a:srgbClr val="FFBF22"/>
              </a:solidFill>
              <a:latin typeface="HelveticaNeueLTPro-Hv"/>
              <a:cs typeface="HelveticaNeueLTPro-Hv"/>
            </a:endParaRPr>
          </a:p>
        </p:txBody>
      </p:sp>
      <p:sp>
        <p:nvSpPr>
          <p:cNvPr id="21" name="Rectangle 20">
            <a:extLst>
              <a:ext uri="{FF2B5EF4-FFF2-40B4-BE49-F238E27FC236}">
                <a16:creationId xmlns:a16="http://schemas.microsoft.com/office/drawing/2014/main" id="{2D20D11B-5369-8A4D-B36F-6DC0DC12C1CF}"/>
              </a:ext>
            </a:extLst>
          </p:cNvPr>
          <p:cNvSpPr/>
          <p:nvPr userDrawn="1"/>
        </p:nvSpPr>
        <p:spPr>
          <a:xfrm>
            <a:off x="6105333" y="4801764"/>
            <a:ext cx="973985" cy="216341"/>
          </a:xfrm>
          <a:prstGeom prst="rect">
            <a:avLst/>
          </a:prstGeom>
        </p:spPr>
        <p:txBody>
          <a:bodyPr wrap="none">
            <a:spAutoFit/>
          </a:bodyPr>
          <a:lstStyle/>
          <a:p>
            <a:pPr marL="10241" defTabSz="737372">
              <a:spcBef>
                <a:spcPts val="81"/>
              </a:spcBef>
            </a:pPr>
            <a:r>
              <a:rPr lang="en-GB" sz="806" b="1" dirty="0">
                <a:solidFill>
                  <a:srgbClr val="FFBF22"/>
                </a:solidFill>
                <a:latin typeface="HelveticaNeueLTPro-Hv"/>
                <a:cs typeface="HelveticaNeueLTPro-Hv"/>
              </a:rPr>
              <a:t>Complementary</a:t>
            </a:r>
            <a:endParaRPr lang="en-GB" sz="806" dirty="0">
              <a:solidFill>
                <a:srgbClr val="FFBF22"/>
              </a:solidFill>
              <a:latin typeface="HelveticaNeueLTPro-Hv"/>
              <a:cs typeface="HelveticaNeueLTPro-Hv"/>
            </a:endParaRPr>
          </a:p>
        </p:txBody>
      </p:sp>
      <p:sp>
        <p:nvSpPr>
          <p:cNvPr id="22" name="Rectangle 21">
            <a:extLst>
              <a:ext uri="{FF2B5EF4-FFF2-40B4-BE49-F238E27FC236}">
                <a16:creationId xmlns:a16="http://schemas.microsoft.com/office/drawing/2014/main" id="{80EBBE67-735C-BC45-9397-22C2FACEDCE8}"/>
              </a:ext>
            </a:extLst>
          </p:cNvPr>
          <p:cNvSpPr/>
          <p:nvPr userDrawn="1"/>
        </p:nvSpPr>
        <p:spPr>
          <a:xfrm>
            <a:off x="8885405" y="1974306"/>
            <a:ext cx="973985" cy="216341"/>
          </a:xfrm>
          <a:prstGeom prst="rect">
            <a:avLst/>
          </a:prstGeom>
        </p:spPr>
        <p:txBody>
          <a:bodyPr wrap="none">
            <a:spAutoFit/>
          </a:bodyPr>
          <a:lstStyle/>
          <a:p>
            <a:pPr marL="10241" defTabSz="737372">
              <a:spcBef>
                <a:spcPts val="81"/>
              </a:spcBef>
            </a:pPr>
            <a:r>
              <a:rPr lang="en-GB" sz="806" b="1" dirty="0">
                <a:solidFill>
                  <a:srgbClr val="FFBF22"/>
                </a:solidFill>
                <a:latin typeface="HelveticaNeueLTPro-Hv"/>
                <a:cs typeface="HelveticaNeueLTPro-Hv"/>
              </a:rPr>
              <a:t>Complementary</a:t>
            </a:r>
            <a:endParaRPr lang="en-GB" sz="806" dirty="0">
              <a:solidFill>
                <a:srgbClr val="FFBF22"/>
              </a:solidFill>
              <a:latin typeface="HelveticaNeueLTPro-Hv"/>
              <a:cs typeface="HelveticaNeueLTPro-Hv"/>
            </a:endParaRPr>
          </a:p>
        </p:txBody>
      </p:sp>
      <p:sp>
        <p:nvSpPr>
          <p:cNvPr id="23" name="Title 2">
            <a:extLst>
              <a:ext uri="{FF2B5EF4-FFF2-40B4-BE49-F238E27FC236}">
                <a16:creationId xmlns:a16="http://schemas.microsoft.com/office/drawing/2014/main" id="{705249DA-C75A-454C-80D2-291C9ADA6187}"/>
              </a:ext>
            </a:extLst>
          </p:cNvPr>
          <p:cNvSpPr txBox="1">
            <a:spLocks/>
          </p:cNvSpPr>
          <p:nvPr userDrawn="1"/>
        </p:nvSpPr>
        <p:spPr>
          <a:xfrm>
            <a:off x="505619" y="1096912"/>
            <a:ext cx="3961895" cy="824764"/>
          </a:xfrm>
          <a:prstGeom prst="rect">
            <a:avLst/>
          </a:prstGeom>
        </p:spPr>
        <p:txBody>
          <a:bodyPr anchor="t"/>
          <a:lstStyle>
            <a:lvl1pPr algn="l" defTabSz="914377" rtl="0" eaLnBrk="1" latinLnBrk="0" hangingPunct="1">
              <a:lnSpc>
                <a:spcPct val="90000"/>
              </a:lnSpc>
              <a:spcBef>
                <a:spcPct val="0"/>
              </a:spcBef>
              <a:buNone/>
              <a:defRPr sz="4400" b="0" i="0" kern="120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pPr defTabSz="737354"/>
            <a:r>
              <a:rPr lang="en-GB" sz="3548" dirty="0">
                <a:latin typeface="Helvetica Neue LT Pro 55 Roman" panose="020B0604020202020204" pitchFamily="34" charset="77"/>
              </a:rPr>
              <a:t>Title Slide Header</a:t>
            </a:r>
          </a:p>
          <a:p>
            <a:pPr defTabSz="737354"/>
            <a:r>
              <a:rPr lang="en-US" sz="1129" dirty="0">
                <a:solidFill>
                  <a:prstClr val="black">
                    <a:lumMod val="65000"/>
                    <a:lumOff val="35000"/>
                  </a:prstClr>
                </a:solidFill>
                <a:latin typeface="Helvetica Neue LT Pro 55 Roman" panose="020B0604020202020204" pitchFamily="34" charset="77"/>
              </a:rPr>
              <a:t>Helvetica Neue Lt Pro – 44pt</a:t>
            </a:r>
          </a:p>
        </p:txBody>
      </p:sp>
      <p:sp>
        <p:nvSpPr>
          <p:cNvPr id="24" name="Text Placeholder 3">
            <a:extLst>
              <a:ext uri="{FF2B5EF4-FFF2-40B4-BE49-F238E27FC236}">
                <a16:creationId xmlns:a16="http://schemas.microsoft.com/office/drawing/2014/main" id="{897AA2E2-E1CF-3541-A4BF-B5E6E7D34363}"/>
              </a:ext>
            </a:extLst>
          </p:cNvPr>
          <p:cNvSpPr txBox="1">
            <a:spLocks/>
          </p:cNvSpPr>
          <p:nvPr userDrawn="1"/>
        </p:nvSpPr>
        <p:spPr>
          <a:xfrm>
            <a:off x="505620" y="2199132"/>
            <a:ext cx="4399855" cy="1827906"/>
          </a:xfrm>
          <a:prstGeom prst="rect">
            <a:avLst/>
          </a:prstGeom>
          <a:ln>
            <a:noFill/>
          </a:ln>
        </p:spPr>
        <p:txBody>
          <a:bodyPr/>
          <a:lstStyle>
            <a:lvl1pPr marL="0" indent="0" algn="l" defTabSz="914377" rtl="0" eaLnBrk="1" latinLnBrk="0" hangingPunct="1">
              <a:lnSpc>
                <a:spcPct val="90000"/>
              </a:lnSpc>
              <a:spcBef>
                <a:spcPts val="1000"/>
              </a:spcBef>
              <a:buFont typeface="Arial" panose="020B0604020202020204" pitchFamily="34" charset="0"/>
              <a:buNone/>
              <a:defRPr sz="1400" b="0" i="0" kern="1200">
                <a:solidFill>
                  <a:srgbClr val="FFBF22"/>
                </a:solidFill>
                <a:latin typeface="Helvetica Neue LT Std 45 Light" panose="020B0403020202020204" pitchFamily="34"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b="0" i="0" kern="1200">
                <a:ln>
                  <a:noFill/>
                </a:ln>
                <a:solidFill>
                  <a:srgbClr val="E8BC28"/>
                </a:solidFill>
                <a:latin typeface="Helvetica Neue LT Std 45 Light" panose="020B0403020202020204" pitchFamily="34" charset="0"/>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b="0" i="0" kern="1200">
                <a:solidFill>
                  <a:srgbClr val="E8BC28"/>
                </a:solidFill>
                <a:latin typeface="Helvetica Neue LT Std 45 Light" panose="020B0403020202020204" pitchFamily="34" charset="0"/>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b="0" i="0" kern="1200">
                <a:solidFill>
                  <a:srgbClr val="E8BC28"/>
                </a:solidFill>
                <a:latin typeface="Helvetica Neue LT Std 45 Light" panose="020B0403020202020204" pitchFamily="34" charset="0"/>
                <a:ea typeface="+mn-ea"/>
                <a:cs typeface="+mn-cs"/>
              </a:defRPr>
            </a:lvl4pPr>
            <a:lvl5pPr marL="1828755" indent="0" algn="l" defTabSz="914377"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T Std 35 Thin" panose="020B04030202020202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737354">
              <a:spcBef>
                <a:spcPts val="806"/>
              </a:spcBef>
              <a:defRPr/>
            </a:pPr>
            <a:r>
              <a:rPr lang="en-GB" sz="1290" dirty="0">
                <a:solidFill>
                  <a:srgbClr val="000000">
                    <a:lumMod val="65000"/>
                    <a:lumOff val="35000"/>
                  </a:srgbClr>
                </a:solidFill>
                <a:latin typeface="Helvetica Neue LT Pro 65 Medium" panose="020B0604020202020204" pitchFamily="34" charset="77"/>
                <a:ea typeface="Helvetica Neue Medium" panose="02000503000000020004" pitchFamily="2" charset="0"/>
                <a:cs typeface="Helvetica Neue Medium" panose="02000503000000020004" pitchFamily="2" charset="0"/>
              </a:rPr>
              <a:t>Lorem ipsum dolor sit amet, consectetuer adipiscing elit. Maecenas porttitor congue massa. Fusce posuere, magna sed pulvinar ultricies, purus lectus malesuada libero, sit amet commodo magna eros quis urna.</a:t>
            </a:r>
          </a:p>
          <a:p>
            <a:pPr defTabSz="737354">
              <a:spcBef>
                <a:spcPts val="806"/>
              </a:spcBef>
              <a:defRPr/>
            </a:pPr>
            <a:r>
              <a:rPr lang="en-GB" sz="1290" dirty="0">
                <a:solidFill>
                  <a:srgbClr val="000000">
                    <a:lumMod val="65000"/>
                    <a:lumOff val="35000"/>
                  </a:srgbClr>
                </a:solidFill>
                <a:latin typeface="Helvetica Neue LT Pro 55 Roman" panose="020B0604020202020204" pitchFamily="34" charset="77"/>
              </a:rPr>
              <a:t>Lorem ipsum dolor sit amet, consectetuer adipiscing elit. Maecenas porttitor congue massa. Fusce posuere, magna sed pulvinar ultricies, purus lectus malesuada libero, sit amet commodo magna eros quis urna.</a:t>
            </a:r>
          </a:p>
          <a:p>
            <a:pPr defTabSz="737354">
              <a:spcBef>
                <a:spcPts val="806"/>
              </a:spcBef>
              <a:defRPr/>
            </a:pPr>
            <a:r>
              <a:rPr lang="en-GB" sz="1290" dirty="0">
                <a:latin typeface="Helvetica Neue LT Pro 55 Roman" panose="020B0604020202020204" pitchFamily="34" charset="77"/>
              </a:rPr>
              <a:t>Intro copy – Helvetica Neue LT Pro – 16pt </a:t>
            </a:r>
          </a:p>
          <a:p>
            <a:pPr defTabSz="737354">
              <a:spcBef>
                <a:spcPts val="806"/>
              </a:spcBef>
              <a:defRPr/>
            </a:pPr>
            <a:endParaRPr lang="en-GB" sz="1290" dirty="0">
              <a:solidFill>
                <a:srgbClr val="000000">
                  <a:lumMod val="65000"/>
                  <a:lumOff val="35000"/>
                </a:srgbClr>
              </a:solidFill>
              <a:latin typeface="Helvetica Neue LT Pro 55 Roman" panose="020B0604020202020204" pitchFamily="34" charset="77"/>
            </a:endParaRPr>
          </a:p>
        </p:txBody>
      </p:sp>
      <p:sp>
        <p:nvSpPr>
          <p:cNvPr id="25" name="Text Placeholder 4">
            <a:extLst>
              <a:ext uri="{FF2B5EF4-FFF2-40B4-BE49-F238E27FC236}">
                <a16:creationId xmlns:a16="http://schemas.microsoft.com/office/drawing/2014/main" id="{8E220FFE-5FDA-3849-836D-ACB2EF7024F9}"/>
              </a:ext>
            </a:extLst>
          </p:cNvPr>
          <p:cNvSpPr txBox="1">
            <a:spLocks/>
          </p:cNvSpPr>
          <p:nvPr userDrawn="1"/>
        </p:nvSpPr>
        <p:spPr>
          <a:xfrm>
            <a:off x="505620" y="4392704"/>
            <a:ext cx="4179168" cy="216972"/>
          </a:xfrm>
          <a:prstGeom prst="rect">
            <a:avLst/>
          </a:prstGeom>
          <a:ln>
            <a:noFill/>
          </a:ln>
        </p:spPr>
        <p:txBody>
          <a:bodyPr/>
          <a:lstStyle>
            <a:lvl1pPr marL="0" indent="0" algn="l" defTabSz="914377" rtl="0" eaLnBrk="1" latinLnBrk="0" hangingPunct="1">
              <a:lnSpc>
                <a:spcPct val="90000"/>
              </a:lnSpc>
              <a:spcBef>
                <a:spcPts val="1000"/>
              </a:spcBef>
              <a:buFont typeface="Arial" panose="020B0604020202020204" pitchFamily="34" charset="0"/>
              <a:buNone/>
              <a:defRPr sz="1200" b="1" i="1" kern="1200">
                <a:solidFill>
                  <a:srgbClr val="E75400"/>
                </a:solidFill>
                <a:latin typeface="Helvetica Neue LT Std 97 Black " panose="020B0604020202020204" pitchFamily="34"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b="0" i="0" kern="1200">
                <a:ln>
                  <a:noFill/>
                </a:ln>
                <a:solidFill>
                  <a:srgbClr val="E8BC28"/>
                </a:solidFill>
                <a:latin typeface="Helvetica Neue LT Std 45 Light" panose="020B0403020202020204" pitchFamily="34" charset="0"/>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b="0" i="0" kern="1200">
                <a:solidFill>
                  <a:srgbClr val="E8BC28"/>
                </a:solidFill>
                <a:latin typeface="Helvetica Neue LT Std 45 Light" panose="020B0403020202020204" pitchFamily="34" charset="0"/>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b="0" i="0" kern="1200">
                <a:solidFill>
                  <a:srgbClr val="E8BC28"/>
                </a:solidFill>
                <a:latin typeface="Helvetica Neue LT Std 45 Light" panose="020B0403020202020204" pitchFamily="34" charset="0"/>
                <a:ea typeface="+mn-ea"/>
                <a:cs typeface="+mn-cs"/>
              </a:defRPr>
            </a:lvl4pPr>
            <a:lvl5pPr marL="1828755" indent="0" algn="l" defTabSz="914377"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T Std 35 Thin" panose="020B04030202020202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737354">
              <a:spcBef>
                <a:spcPts val="806"/>
              </a:spcBef>
            </a:pPr>
            <a:r>
              <a:rPr lang="en-GB" sz="1290" b="0" i="0" dirty="0">
                <a:solidFill>
                  <a:srgbClr val="F26522"/>
                </a:solidFill>
                <a:latin typeface="Helvetica Neue LT Pro 55 Roman" panose="020B0604020202020204" pitchFamily="34" charset="77"/>
              </a:rPr>
              <a:t>Sub Header Copy Here – Helvetica Neue Lt Pro – 16pt</a:t>
            </a:r>
          </a:p>
          <a:p>
            <a:pPr defTabSz="737354">
              <a:spcBef>
                <a:spcPts val="806"/>
              </a:spcBef>
            </a:pPr>
            <a:endParaRPr lang="en-US" sz="1290" b="0" i="0" dirty="0">
              <a:latin typeface="Helvetica Neue LT Std 65 Medium" panose="020B0604020202020204" pitchFamily="34" charset="0"/>
            </a:endParaRPr>
          </a:p>
        </p:txBody>
      </p:sp>
      <p:sp>
        <p:nvSpPr>
          <p:cNvPr id="26" name="Text Placeholder 5">
            <a:extLst>
              <a:ext uri="{FF2B5EF4-FFF2-40B4-BE49-F238E27FC236}">
                <a16:creationId xmlns:a16="http://schemas.microsoft.com/office/drawing/2014/main" id="{7E28C139-CAD0-5C49-9F98-ED8F66B34D0B}"/>
              </a:ext>
            </a:extLst>
          </p:cNvPr>
          <p:cNvSpPr txBox="1">
            <a:spLocks/>
          </p:cNvSpPr>
          <p:nvPr userDrawn="1"/>
        </p:nvSpPr>
        <p:spPr>
          <a:xfrm>
            <a:off x="505619" y="4787365"/>
            <a:ext cx="4256373" cy="948457"/>
          </a:xfrm>
          <a:prstGeom prst="rect">
            <a:avLst/>
          </a:prstGeom>
          <a:ln>
            <a:noFill/>
          </a:ln>
        </p:spPr>
        <p:txBody>
          <a:bodyPr numCol="2"/>
          <a:lstStyle>
            <a:lvl1pPr marL="285750" indent="-285750" algn="l" defTabSz="914377" rtl="0" eaLnBrk="1" latinLnBrk="0" hangingPunct="1">
              <a:lnSpc>
                <a:spcPct val="90000"/>
              </a:lnSpc>
              <a:spcBef>
                <a:spcPts val="1000"/>
              </a:spcBef>
              <a:buFont typeface="Arial" panose="020B0604020202020204" pitchFamily="34" charset="0"/>
              <a:buChar char="•"/>
              <a:defRPr sz="1200" b="0" i="0" kern="1200">
                <a:solidFill>
                  <a:schemeClr val="tx1">
                    <a:lumMod val="65000"/>
                    <a:lumOff val="35000"/>
                  </a:schemeClr>
                </a:solidFill>
                <a:latin typeface="Helvetica Neue LT Std 45 Light" panose="020B0403020202020204" pitchFamily="34"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b="0" i="0" kern="1200">
                <a:ln>
                  <a:noFill/>
                </a:ln>
                <a:solidFill>
                  <a:srgbClr val="E8BC28"/>
                </a:solidFill>
                <a:latin typeface="Helvetica Neue LT Std 45 Light" panose="020B0403020202020204" pitchFamily="34" charset="0"/>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b="0" i="0" kern="1200">
                <a:solidFill>
                  <a:srgbClr val="20201E"/>
                </a:solidFill>
                <a:latin typeface="Helvetica Neue LT Std 45 Light" panose="020B0403020202020204" pitchFamily="34" charset="0"/>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b="0" i="0" kern="1200">
                <a:solidFill>
                  <a:srgbClr val="20201E"/>
                </a:solidFill>
                <a:latin typeface="Helvetica Neue LT Std 45 Light" panose="020B0403020202020204" pitchFamily="34" charset="0"/>
                <a:ea typeface="+mn-ea"/>
                <a:cs typeface="+mn-cs"/>
              </a:defRPr>
            </a:lvl4pPr>
            <a:lvl5pPr marL="1828755" indent="0" algn="l" defTabSz="914377"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T Std 35 Thin" panose="020B04030202020202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30429" indent="-230429" defTabSz="737354">
              <a:spcBef>
                <a:spcPts val="806"/>
              </a:spcBef>
            </a:pPr>
            <a:r>
              <a:rPr lang="en-US" sz="887" dirty="0">
                <a:solidFill>
                  <a:prstClr val="black">
                    <a:lumMod val="65000"/>
                    <a:lumOff val="35000"/>
                  </a:prstClr>
                </a:solidFill>
                <a:latin typeface="Helvetica Neue LT Pro 45 Light" panose="020B0403020202020204" pitchFamily="34" charset="77"/>
              </a:rPr>
              <a:t>Ab inis est aut voloriae. Genesseria ipicatur ad quia dit eatur repudae doluptat</a:t>
            </a:r>
            <a:br>
              <a:rPr lang="en-GB" sz="887" dirty="0">
                <a:solidFill>
                  <a:srgbClr val="000000">
                    <a:lumMod val="65000"/>
                    <a:lumOff val="35000"/>
                  </a:srgbClr>
                </a:solidFill>
                <a:latin typeface="Helvetica Neue LT Pro 45 Light" panose="020B0403020202020204" pitchFamily="34" charset="77"/>
              </a:rPr>
            </a:br>
            <a:br>
              <a:rPr lang="en-GB" sz="887" dirty="0">
                <a:solidFill>
                  <a:srgbClr val="000000">
                    <a:lumMod val="65000"/>
                    <a:lumOff val="35000"/>
                  </a:srgbClr>
                </a:solidFill>
                <a:latin typeface="Helvetica Neue LT Pro 45 Light" panose="020B0403020202020204" pitchFamily="34" charset="77"/>
              </a:rPr>
            </a:br>
            <a:r>
              <a:rPr lang="en-US" sz="887" dirty="0">
                <a:solidFill>
                  <a:prstClr val="black">
                    <a:lumMod val="65000"/>
                    <a:lumOff val="35000"/>
                  </a:prstClr>
                </a:solidFill>
                <a:latin typeface="Helvetica Neue LT Pro 45 Light" panose="020B0403020202020204" pitchFamily="34" charset="77"/>
              </a:rPr>
              <a:t>Quid est, sunti officiist, to volut </a:t>
            </a:r>
            <a:br>
              <a:rPr lang="en-US" sz="887" dirty="0">
                <a:solidFill>
                  <a:prstClr val="black">
                    <a:lumMod val="65000"/>
                    <a:lumOff val="35000"/>
                  </a:prstClr>
                </a:solidFill>
                <a:latin typeface="Helvetica Neue LT Pro 45 Light" panose="020B0403020202020204" pitchFamily="34" charset="77"/>
              </a:rPr>
            </a:br>
            <a:r>
              <a:rPr lang="en-US" sz="887" dirty="0">
                <a:solidFill>
                  <a:prstClr val="black">
                    <a:lumMod val="65000"/>
                    <a:lumOff val="35000"/>
                  </a:prstClr>
                </a:solidFill>
                <a:latin typeface="Helvetica Neue LT Pro 45 Light" panose="020B0403020202020204" pitchFamily="34" charset="77"/>
              </a:rPr>
              <a:t>aut et qui </a:t>
            </a:r>
          </a:p>
          <a:p>
            <a:pPr marL="230429" indent="-230429" defTabSz="737354">
              <a:spcBef>
                <a:spcPts val="806"/>
              </a:spcBef>
            </a:pPr>
            <a:r>
              <a:rPr lang="en-US" sz="887" dirty="0">
                <a:solidFill>
                  <a:prstClr val="black">
                    <a:lumMod val="65000"/>
                    <a:lumOff val="35000"/>
                  </a:prstClr>
                </a:solidFill>
                <a:latin typeface="Helvetica Neue LT Pro 45 Light" panose="020B0403020202020204" pitchFamily="34" charset="77"/>
              </a:rPr>
              <a:t>Quid est, sunti officiist, to volut aut et qui dolupta cus velecti berios se laborporitio</a:t>
            </a:r>
          </a:p>
          <a:p>
            <a:pPr marL="230429" indent="-230429" defTabSz="737354">
              <a:spcBef>
                <a:spcPts val="806"/>
              </a:spcBef>
            </a:pPr>
            <a:r>
              <a:rPr lang="en-US" sz="1129" dirty="0">
                <a:solidFill>
                  <a:srgbClr val="000000">
                    <a:lumMod val="65000"/>
                    <a:lumOff val="35000"/>
                  </a:srgbClr>
                </a:solidFill>
                <a:latin typeface="Helvetica Neue LT Pro 45 Light" panose="020B0403020202020204" pitchFamily="34" charset="77"/>
              </a:rPr>
              <a:t>Body Copy – </a:t>
            </a:r>
            <a:br>
              <a:rPr lang="en-US" sz="1129" dirty="0">
                <a:solidFill>
                  <a:srgbClr val="000000">
                    <a:lumMod val="65000"/>
                    <a:lumOff val="35000"/>
                  </a:srgbClr>
                </a:solidFill>
                <a:latin typeface="Helvetica Neue LT Pro 45 Light" panose="020B0403020202020204" pitchFamily="34" charset="77"/>
              </a:rPr>
            </a:br>
            <a:r>
              <a:rPr lang="en-US" sz="1129" dirty="0">
                <a:solidFill>
                  <a:srgbClr val="000000">
                    <a:lumMod val="65000"/>
                    <a:lumOff val="35000"/>
                  </a:srgbClr>
                </a:solidFill>
                <a:latin typeface="Helvetica Neue LT Pro 45 Light" panose="020B0403020202020204" pitchFamily="34" charset="77"/>
              </a:rPr>
              <a:t>Hevetica Neue Lt Pro – 14pt</a:t>
            </a:r>
          </a:p>
        </p:txBody>
      </p:sp>
      <p:sp>
        <p:nvSpPr>
          <p:cNvPr id="27" name="Title 1">
            <a:extLst>
              <a:ext uri="{FF2B5EF4-FFF2-40B4-BE49-F238E27FC236}">
                <a16:creationId xmlns:a16="http://schemas.microsoft.com/office/drawing/2014/main" id="{D4A9DA12-082B-A34C-8468-11587E48967B}"/>
              </a:ext>
            </a:extLst>
          </p:cNvPr>
          <p:cNvSpPr txBox="1">
            <a:spLocks/>
          </p:cNvSpPr>
          <p:nvPr userDrawn="1"/>
        </p:nvSpPr>
        <p:spPr>
          <a:xfrm>
            <a:off x="464341" y="282971"/>
            <a:ext cx="3914022" cy="390715"/>
          </a:xfrm>
          <a:prstGeom prst="rect">
            <a:avLst/>
          </a:prstGeom>
        </p:spPr>
        <p:txBody>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defTabSz="737354"/>
            <a:r>
              <a:rPr lang="en-US" sz="1613" dirty="0">
                <a:solidFill>
                  <a:prstClr val="black">
                    <a:lumMod val="65000"/>
                    <a:lumOff val="35000"/>
                  </a:prstClr>
                </a:solidFill>
                <a:latin typeface="Helvetica Neue LT Std 65 Medium" panose="020B0604020202020204" pitchFamily="34" charset="0"/>
              </a:rPr>
              <a:t>PowerPoint Template Guide</a:t>
            </a:r>
          </a:p>
        </p:txBody>
      </p:sp>
    </p:spTree>
    <p:extLst>
      <p:ext uri="{BB962C8B-B14F-4D97-AF65-F5344CB8AC3E}">
        <p14:creationId xmlns:p14="http://schemas.microsoft.com/office/powerpoint/2010/main" val="126721577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7" name="Picture Placeholder 4">
            <a:extLst>
              <a:ext uri="{FF2B5EF4-FFF2-40B4-BE49-F238E27FC236}">
                <a16:creationId xmlns:a16="http://schemas.microsoft.com/office/drawing/2014/main" id="{FFACF0BA-FCB8-2D4A-9836-FD816C771AFC}"/>
              </a:ext>
            </a:extLst>
          </p:cNvPr>
          <p:cNvPicPr>
            <a:picLocks noChangeAspect="1"/>
          </p:cNvPicPr>
          <p:nvPr userDrawn="1"/>
        </p:nvPicPr>
        <p:blipFill>
          <a:blip r:embed="rId2"/>
          <a:srcRect/>
          <a:stretch/>
        </p:blipFill>
        <p:spPr>
          <a:xfrm>
            <a:off x="0" y="3363"/>
            <a:ext cx="12192000" cy="6858000"/>
          </a:xfrm>
          <a:prstGeom prst="rect">
            <a:avLst/>
          </a:prstGeom>
        </p:spPr>
      </p:pic>
      <p:pic>
        <p:nvPicPr>
          <p:cNvPr id="4" name="Picture 3">
            <a:extLst>
              <a:ext uri="{FF2B5EF4-FFF2-40B4-BE49-F238E27FC236}">
                <a16:creationId xmlns:a16="http://schemas.microsoft.com/office/drawing/2014/main" id="{D31E50F2-9DE1-2E46-9E9D-F3A789C485F7}"/>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0" y="6248400"/>
            <a:ext cx="12192000" cy="609600"/>
          </a:xfrm>
          <a:prstGeom prst="rect">
            <a:avLst/>
          </a:prstGeom>
        </p:spPr>
      </p:pic>
    </p:spTree>
    <p:extLst>
      <p:ext uri="{BB962C8B-B14F-4D97-AF65-F5344CB8AC3E}">
        <p14:creationId xmlns:p14="http://schemas.microsoft.com/office/powerpoint/2010/main" val="390589034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portant Informatio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Footer Placeholder 6">
            <a:extLst>
              <a:ext uri="{FF2B5EF4-FFF2-40B4-BE49-F238E27FC236}">
                <a16:creationId xmlns:a16="http://schemas.microsoft.com/office/drawing/2014/main" id="{EA2A867A-47D0-410D-A11E-85F844FFFA8E}"/>
              </a:ext>
            </a:extLst>
          </p:cNvPr>
          <p:cNvSpPr>
            <a:spLocks noGrp="1"/>
          </p:cNvSpPr>
          <p:nvPr>
            <p:ph type="ftr" sz="quarter" idx="10"/>
          </p:nvPr>
        </p:nvSpPr>
        <p:spPr>
          <a:xfrm>
            <a:off x="643467" y="6284384"/>
            <a:ext cx="8595784" cy="404283"/>
          </a:xfrm>
        </p:spPr>
        <p:txBody>
          <a:bodyPr/>
          <a:lstStyle>
            <a:lvl1pPr>
              <a:defRPr sz="933"/>
            </a:lvl1pPr>
          </a:lstStyle>
          <a:p>
            <a:pPr>
              <a:defRPr/>
            </a:pPr>
            <a:r>
              <a:rPr lang="en-GB" altLang="en-US" dirty="0"/>
              <a:t>Document Title | BUSINESS UNIT(S) | OFFICIAL – SENSITIVE: SNI | SUBJECT TO EXPORT CONTROL | LEGALLY PRIVILEGED | PROTECT – PRIVATE | PROTECT – COMMERCIAL &amp; CONTRACTS | NOT PROTECTIVELY MARKED | © 2020 EDF Energy Ltd. All rights Reserved.</a:t>
            </a:r>
          </a:p>
        </p:txBody>
      </p:sp>
      <p:sp>
        <p:nvSpPr>
          <p:cNvPr id="3" name="Slide Number Placeholder 7">
            <a:extLst>
              <a:ext uri="{FF2B5EF4-FFF2-40B4-BE49-F238E27FC236}">
                <a16:creationId xmlns:a16="http://schemas.microsoft.com/office/drawing/2014/main" id="{88B9DB97-D9DE-4505-AB32-D6E0AF24DEA2}"/>
              </a:ext>
            </a:extLst>
          </p:cNvPr>
          <p:cNvSpPr>
            <a:spLocks noGrp="1"/>
          </p:cNvSpPr>
          <p:nvPr>
            <p:ph type="sldNum" sz="quarter" idx="11"/>
          </p:nvPr>
        </p:nvSpPr>
        <p:spPr>
          <a:xfrm>
            <a:off x="67734" y="6284384"/>
            <a:ext cx="575733" cy="404283"/>
          </a:xfrm>
        </p:spPr>
        <p:txBody>
          <a:bodyPr/>
          <a:lstStyle>
            <a:lvl1pPr>
              <a:defRPr/>
            </a:lvl1pPr>
          </a:lstStyle>
          <a:p>
            <a:pPr>
              <a:defRPr/>
            </a:pPr>
            <a:fld id="{AA0C29F7-052C-4857-B643-86032CF09049}" type="slidenum">
              <a:rPr lang="en-GB" altLang="en-US"/>
              <a:pPr>
                <a:defRPr/>
              </a:pPr>
              <a:t>‹#›</a:t>
            </a:fld>
            <a:endParaRPr lang="en-GB" altLang="en-US" dirty="0"/>
          </a:p>
        </p:txBody>
      </p:sp>
    </p:spTree>
    <p:extLst>
      <p:ext uri="{BB962C8B-B14F-4D97-AF65-F5344CB8AC3E}">
        <p14:creationId xmlns:p14="http://schemas.microsoft.com/office/powerpoint/2010/main" val="14193610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Welcome Option 1">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B68AFB7B-7850-4056-8D43-591B43282F99}"/>
              </a:ext>
            </a:extLst>
          </p:cNvPr>
          <p:cNvSpPr>
            <a:spLocks noGrp="1"/>
          </p:cNvSpPr>
          <p:nvPr>
            <p:ph type="ftr" sz="quarter" idx="10"/>
          </p:nvPr>
        </p:nvSpPr>
        <p:spPr/>
        <p:txBody>
          <a:bodyPr/>
          <a:lstStyle>
            <a:lvl1pPr>
              <a:defRPr/>
            </a:lvl1pPr>
          </a:lstStyle>
          <a:p>
            <a:pPr>
              <a:defRPr/>
            </a:pPr>
            <a:r>
              <a:rPr lang="en-GB" altLang="en-US" dirty="0"/>
              <a:t>Document Title | BUSINESS UNIT(S) | OFFICIAL – SENSITIVE: SNI | SUBJECT TO EXPORT CONTROL | LEGALLY PRIVILEGED | PROTECT – PRIVATE | PROTECT – COMMERCIAL &amp; CONTRACTS | NOT PROTECTIVELY MARKED | © 2020 EDF Energy Ltd. All rights Reserved.</a:t>
            </a:r>
          </a:p>
        </p:txBody>
      </p:sp>
      <p:sp>
        <p:nvSpPr>
          <p:cNvPr id="3" name="Slide Number Placeholder 5">
            <a:extLst>
              <a:ext uri="{FF2B5EF4-FFF2-40B4-BE49-F238E27FC236}">
                <a16:creationId xmlns:a16="http://schemas.microsoft.com/office/drawing/2014/main" id="{5FEBFCE1-3570-4881-BC44-B1FFF2028BED}"/>
              </a:ext>
            </a:extLst>
          </p:cNvPr>
          <p:cNvSpPr>
            <a:spLocks noGrp="1"/>
          </p:cNvSpPr>
          <p:nvPr>
            <p:ph type="sldNum" sz="quarter" idx="11"/>
          </p:nvPr>
        </p:nvSpPr>
        <p:spPr>
          <a:xfrm>
            <a:off x="65618" y="6282267"/>
            <a:ext cx="575733" cy="404284"/>
          </a:xfrm>
        </p:spPr>
        <p:txBody>
          <a:bodyPr/>
          <a:lstStyle>
            <a:lvl1pPr>
              <a:defRPr/>
            </a:lvl1pPr>
          </a:lstStyle>
          <a:p>
            <a:pPr>
              <a:defRPr/>
            </a:pPr>
            <a:fld id="{A72E2E27-61DA-44F3-931C-9B756B31E1EE}" type="slidenum">
              <a:rPr lang="en-GB" altLang="en-US"/>
              <a:pPr>
                <a:defRPr/>
              </a:pPr>
              <a:t>‹#›</a:t>
            </a:fld>
            <a:endParaRPr lang="en-GB" altLang="en-US" dirty="0"/>
          </a:p>
        </p:txBody>
      </p:sp>
    </p:spTree>
    <p:extLst>
      <p:ext uri="{BB962C8B-B14F-4D97-AF65-F5344CB8AC3E}">
        <p14:creationId xmlns:p14="http://schemas.microsoft.com/office/powerpoint/2010/main" val="75303737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Rectangle 8">
            <a:extLst>
              <a:ext uri="{FF2B5EF4-FFF2-40B4-BE49-F238E27FC236}">
                <a16:creationId xmlns:a16="http://schemas.microsoft.com/office/drawing/2014/main" id="{03B198C5-B812-48FD-87DA-69EBD9690003}"/>
              </a:ext>
            </a:extLst>
          </p:cNvPr>
          <p:cNvSpPr>
            <a:spLocks noGrp="1" noChangeArrowheads="1"/>
          </p:cNvSpPr>
          <p:nvPr>
            <p:ph type="ftr" sz="quarter" idx="10"/>
          </p:nvPr>
        </p:nvSpPr>
        <p:spPr>
          <a:ln/>
        </p:spPr>
        <p:txBody>
          <a:bodyPr/>
          <a:lstStyle>
            <a:lvl1pPr>
              <a:defRPr/>
            </a:lvl1pPr>
          </a:lstStyle>
          <a:p>
            <a:pPr>
              <a:defRPr/>
            </a:pPr>
            <a:r>
              <a:rPr lang="en-GB" altLang="en-US" dirty="0"/>
              <a:t>Document Title | BUSINESS UNIT(S) | OFFICIAL – SENSITIVE: SNI | SUBJECT TO EXPORT CONTROL | LEGALLY PRIVILEGED | PROTECT – PRIVATE | PROTECT – COMMERCIAL &amp; CONTRACTS | NOT PROTECTIVELY MARKED | © 2020 EDF Energy Ltd. All rights Reserved.</a:t>
            </a:r>
          </a:p>
        </p:txBody>
      </p:sp>
      <p:sp>
        <p:nvSpPr>
          <p:cNvPr id="3" name="Rectangle 14">
            <a:extLst>
              <a:ext uri="{FF2B5EF4-FFF2-40B4-BE49-F238E27FC236}">
                <a16:creationId xmlns:a16="http://schemas.microsoft.com/office/drawing/2014/main" id="{12250C2E-5E45-49C7-8C1B-8C1BC6F3EE17}"/>
              </a:ext>
            </a:extLst>
          </p:cNvPr>
          <p:cNvSpPr>
            <a:spLocks noGrp="1" noChangeArrowheads="1"/>
          </p:cNvSpPr>
          <p:nvPr>
            <p:ph type="sldNum" sz="quarter" idx="11"/>
          </p:nvPr>
        </p:nvSpPr>
        <p:spPr>
          <a:ln/>
        </p:spPr>
        <p:txBody>
          <a:bodyPr/>
          <a:lstStyle>
            <a:lvl1pPr>
              <a:defRPr/>
            </a:lvl1pPr>
          </a:lstStyle>
          <a:p>
            <a:pPr>
              <a:defRPr/>
            </a:pPr>
            <a:fld id="{FA05F4D4-7722-4179-9C2A-D11456C8D173}" type="slidenum">
              <a:rPr lang="en-GB" altLang="en-US"/>
              <a:pPr>
                <a:defRPr/>
              </a:pPr>
              <a:t>‹#›</a:t>
            </a:fld>
            <a:endParaRPr lang="en-GB" altLang="en-US" dirty="0"/>
          </a:p>
        </p:txBody>
      </p:sp>
    </p:spTree>
    <p:extLst>
      <p:ext uri="{BB962C8B-B14F-4D97-AF65-F5344CB8AC3E}">
        <p14:creationId xmlns:p14="http://schemas.microsoft.com/office/powerpoint/2010/main" val="22530944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Employees">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C9885BEA-7C33-EC4C-9B83-76A1B77EB0FB}"/>
              </a:ext>
            </a:extLst>
          </p:cNvPr>
          <p:cNvSpPr>
            <a:spLocks noGrp="1"/>
          </p:cNvSpPr>
          <p:nvPr>
            <p:ph type="title"/>
          </p:nvPr>
        </p:nvSpPr>
        <p:spPr>
          <a:xfrm>
            <a:off x="517629" y="487300"/>
            <a:ext cx="4629406" cy="1369209"/>
          </a:xfrm>
          <a:prstGeom prst="rect">
            <a:avLst/>
          </a:prstGeom>
        </p:spPr>
        <p:txBody>
          <a:bodyPr lIns="0"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dirty="0"/>
              <a:t>Click to edit Master title style</a:t>
            </a:r>
            <a:endParaRPr lang="en-US" dirty="0"/>
          </a:p>
        </p:txBody>
      </p:sp>
      <p:sp>
        <p:nvSpPr>
          <p:cNvPr id="11" name="Text Placeholder 10">
            <a:extLst>
              <a:ext uri="{FF2B5EF4-FFF2-40B4-BE49-F238E27FC236}">
                <a16:creationId xmlns:a16="http://schemas.microsoft.com/office/drawing/2014/main" id="{8D9B2882-406D-0A4D-BF70-0A3D2EB58AEE}"/>
              </a:ext>
            </a:extLst>
          </p:cNvPr>
          <p:cNvSpPr>
            <a:spLocks noGrp="1"/>
          </p:cNvSpPr>
          <p:nvPr>
            <p:ph type="body" sz="quarter" idx="11" hasCustomPrompt="1"/>
          </p:nvPr>
        </p:nvSpPr>
        <p:spPr>
          <a:xfrm>
            <a:off x="8469127" y="1238522"/>
            <a:ext cx="2036041" cy="258700"/>
          </a:xfrm>
          <a:prstGeom prst="rect">
            <a:avLst/>
          </a:prstGeom>
        </p:spPr>
        <p:txBody>
          <a:bodyPr lIns="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dirty="0"/>
              <a:t>Name Surname</a:t>
            </a:r>
          </a:p>
        </p:txBody>
      </p:sp>
      <p:sp>
        <p:nvSpPr>
          <p:cNvPr id="13" name="Text Placeholder 12">
            <a:extLst>
              <a:ext uri="{FF2B5EF4-FFF2-40B4-BE49-F238E27FC236}">
                <a16:creationId xmlns:a16="http://schemas.microsoft.com/office/drawing/2014/main" id="{98B15EC4-7827-AD44-9BF2-5FF8608DDB43}"/>
              </a:ext>
            </a:extLst>
          </p:cNvPr>
          <p:cNvSpPr>
            <a:spLocks noGrp="1"/>
          </p:cNvSpPr>
          <p:nvPr>
            <p:ph type="body" sz="quarter" idx="12" hasCustomPrompt="1"/>
          </p:nvPr>
        </p:nvSpPr>
        <p:spPr>
          <a:xfrm>
            <a:off x="8469127" y="1411982"/>
            <a:ext cx="2036763" cy="258700"/>
          </a:xfrm>
          <a:prstGeom prst="rect">
            <a:avLst/>
          </a:prstGeom>
        </p:spPr>
        <p:txBody>
          <a:bodyPr lIns="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dirty="0"/>
              <a:t>Job title</a:t>
            </a:r>
            <a:endParaRPr lang="en-US" dirty="0"/>
          </a:p>
        </p:txBody>
      </p:sp>
      <p:sp>
        <p:nvSpPr>
          <p:cNvPr id="14" name="Text Placeholder 10">
            <a:extLst>
              <a:ext uri="{FF2B5EF4-FFF2-40B4-BE49-F238E27FC236}">
                <a16:creationId xmlns:a16="http://schemas.microsoft.com/office/drawing/2014/main" id="{25FD1F12-AD2C-7341-8AFB-CDB935BA9898}"/>
              </a:ext>
            </a:extLst>
          </p:cNvPr>
          <p:cNvSpPr>
            <a:spLocks noGrp="1"/>
          </p:cNvSpPr>
          <p:nvPr>
            <p:ph type="body" sz="quarter" idx="13" hasCustomPrompt="1"/>
          </p:nvPr>
        </p:nvSpPr>
        <p:spPr>
          <a:xfrm>
            <a:off x="7922724" y="3185414"/>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dirty="0"/>
              <a:t>Name Surname</a:t>
            </a:r>
          </a:p>
        </p:txBody>
      </p:sp>
      <p:sp>
        <p:nvSpPr>
          <p:cNvPr id="15" name="Text Placeholder 12">
            <a:extLst>
              <a:ext uri="{FF2B5EF4-FFF2-40B4-BE49-F238E27FC236}">
                <a16:creationId xmlns:a16="http://schemas.microsoft.com/office/drawing/2014/main" id="{DEAA0E9D-C17D-9848-AED5-206761E20B8A}"/>
              </a:ext>
            </a:extLst>
          </p:cNvPr>
          <p:cNvSpPr>
            <a:spLocks noGrp="1"/>
          </p:cNvSpPr>
          <p:nvPr>
            <p:ph type="body" sz="quarter" idx="14" hasCustomPrompt="1"/>
          </p:nvPr>
        </p:nvSpPr>
        <p:spPr>
          <a:xfrm>
            <a:off x="7922633" y="3358874"/>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dirty="0"/>
              <a:t>Job title</a:t>
            </a:r>
            <a:endParaRPr lang="en-US" dirty="0"/>
          </a:p>
        </p:txBody>
      </p:sp>
      <p:sp>
        <p:nvSpPr>
          <p:cNvPr id="16" name="Text Placeholder 10">
            <a:extLst>
              <a:ext uri="{FF2B5EF4-FFF2-40B4-BE49-F238E27FC236}">
                <a16:creationId xmlns:a16="http://schemas.microsoft.com/office/drawing/2014/main" id="{026F6D38-3BF3-A84D-85B0-AF87285D1F22}"/>
              </a:ext>
            </a:extLst>
          </p:cNvPr>
          <p:cNvSpPr>
            <a:spLocks noGrp="1"/>
          </p:cNvSpPr>
          <p:nvPr>
            <p:ph type="body" sz="quarter" idx="15" hasCustomPrompt="1"/>
          </p:nvPr>
        </p:nvSpPr>
        <p:spPr>
          <a:xfrm>
            <a:off x="6087954" y="3185414"/>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dirty="0"/>
              <a:t>Name Surname</a:t>
            </a:r>
          </a:p>
        </p:txBody>
      </p:sp>
      <p:sp>
        <p:nvSpPr>
          <p:cNvPr id="17" name="Text Placeholder 12">
            <a:extLst>
              <a:ext uri="{FF2B5EF4-FFF2-40B4-BE49-F238E27FC236}">
                <a16:creationId xmlns:a16="http://schemas.microsoft.com/office/drawing/2014/main" id="{DD7A5CEC-EC14-9F40-AF5A-DE0DD70F29B7}"/>
              </a:ext>
            </a:extLst>
          </p:cNvPr>
          <p:cNvSpPr>
            <a:spLocks noGrp="1"/>
          </p:cNvSpPr>
          <p:nvPr>
            <p:ph type="body" sz="quarter" idx="16" hasCustomPrompt="1"/>
          </p:nvPr>
        </p:nvSpPr>
        <p:spPr>
          <a:xfrm>
            <a:off x="6087863" y="3358874"/>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dirty="0"/>
              <a:t>Job title</a:t>
            </a:r>
            <a:endParaRPr lang="en-US" dirty="0"/>
          </a:p>
        </p:txBody>
      </p:sp>
      <p:sp>
        <p:nvSpPr>
          <p:cNvPr id="18" name="Text Placeholder 10">
            <a:extLst>
              <a:ext uri="{FF2B5EF4-FFF2-40B4-BE49-F238E27FC236}">
                <a16:creationId xmlns:a16="http://schemas.microsoft.com/office/drawing/2014/main" id="{8C37767A-9381-684B-AFF3-4BC41ACA71ED}"/>
              </a:ext>
            </a:extLst>
          </p:cNvPr>
          <p:cNvSpPr>
            <a:spLocks noGrp="1"/>
          </p:cNvSpPr>
          <p:nvPr>
            <p:ph type="body" sz="quarter" idx="17" hasCustomPrompt="1"/>
          </p:nvPr>
        </p:nvSpPr>
        <p:spPr>
          <a:xfrm>
            <a:off x="4191055" y="3185414"/>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dirty="0"/>
              <a:t>Name Surname</a:t>
            </a:r>
          </a:p>
        </p:txBody>
      </p:sp>
      <p:sp>
        <p:nvSpPr>
          <p:cNvPr id="19" name="Text Placeholder 12">
            <a:extLst>
              <a:ext uri="{FF2B5EF4-FFF2-40B4-BE49-F238E27FC236}">
                <a16:creationId xmlns:a16="http://schemas.microsoft.com/office/drawing/2014/main" id="{30568923-57EA-3244-993A-D090E73CAC81}"/>
              </a:ext>
            </a:extLst>
          </p:cNvPr>
          <p:cNvSpPr>
            <a:spLocks noGrp="1"/>
          </p:cNvSpPr>
          <p:nvPr>
            <p:ph type="body" sz="quarter" idx="18" hasCustomPrompt="1"/>
          </p:nvPr>
        </p:nvSpPr>
        <p:spPr>
          <a:xfrm>
            <a:off x="4190964" y="3358874"/>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dirty="0"/>
              <a:t>Job title</a:t>
            </a:r>
            <a:endParaRPr lang="en-US" dirty="0"/>
          </a:p>
        </p:txBody>
      </p:sp>
      <p:sp>
        <p:nvSpPr>
          <p:cNvPr id="20" name="Text Placeholder 10">
            <a:extLst>
              <a:ext uri="{FF2B5EF4-FFF2-40B4-BE49-F238E27FC236}">
                <a16:creationId xmlns:a16="http://schemas.microsoft.com/office/drawing/2014/main" id="{52684357-8BAC-7C47-887A-37917745E901}"/>
              </a:ext>
            </a:extLst>
          </p:cNvPr>
          <p:cNvSpPr>
            <a:spLocks noGrp="1"/>
          </p:cNvSpPr>
          <p:nvPr>
            <p:ph type="body" sz="quarter" idx="19" hasCustomPrompt="1"/>
          </p:nvPr>
        </p:nvSpPr>
        <p:spPr>
          <a:xfrm>
            <a:off x="2361375" y="3185414"/>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dirty="0"/>
              <a:t>Name Surname</a:t>
            </a:r>
          </a:p>
        </p:txBody>
      </p:sp>
      <p:sp>
        <p:nvSpPr>
          <p:cNvPr id="21" name="Text Placeholder 12">
            <a:extLst>
              <a:ext uri="{FF2B5EF4-FFF2-40B4-BE49-F238E27FC236}">
                <a16:creationId xmlns:a16="http://schemas.microsoft.com/office/drawing/2014/main" id="{FE757602-E883-0C46-83AF-8B1CEC8D9CED}"/>
              </a:ext>
            </a:extLst>
          </p:cNvPr>
          <p:cNvSpPr>
            <a:spLocks noGrp="1"/>
          </p:cNvSpPr>
          <p:nvPr>
            <p:ph type="body" sz="quarter" idx="20" hasCustomPrompt="1"/>
          </p:nvPr>
        </p:nvSpPr>
        <p:spPr>
          <a:xfrm>
            <a:off x="2361284" y="3358874"/>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dirty="0"/>
              <a:t>Job title</a:t>
            </a:r>
            <a:endParaRPr lang="en-US" dirty="0"/>
          </a:p>
        </p:txBody>
      </p:sp>
      <p:sp>
        <p:nvSpPr>
          <p:cNvPr id="22" name="Text Placeholder 10">
            <a:extLst>
              <a:ext uri="{FF2B5EF4-FFF2-40B4-BE49-F238E27FC236}">
                <a16:creationId xmlns:a16="http://schemas.microsoft.com/office/drawing/2014/main" id="{E80E63D6-51AF-9342-84DD-2F397CF5E026}"/>
              </a:ext>
            </a:extLst>
          </p:cNvPr>
          <p:cNvSpPr>
            <a:spLocks noGrp="1"/>
          </p:cNvSpPr>
          <p:nvPr>
            <p:ph type="body" sz="quarter" idx="21" hasCustomPrompt="1"/>
          </p:nvPr>
        </p:nvSpPr>
        <p:spPr>
          <a:xfrm>
            <a:off x="517720" y="3185414"/>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dirty="0"/>
              <a:t>Name Surname</a:t>
            </a:r>
          </a:p>
        </p:txBody>
      </p:sp>
      <p:sp>
        <p:nvSpPr>
          <p:cNvPr id="23" name="Text Placeholder 12">
            <a:extLst>
              <a:ext uri="{FF2B5EF4-FFF2-40B4-BE49-F238E27FC236}">
                <a16:creationId xmlns:a16="http://schemas.microsoft.com/office/drawing/2014/main" id="{800E494D-C690-A141-A71E-A48CBF0A61D1}"/>
              </a:ext>
            </a:extLst>
          </p:cNvPr>
          <p:cNvSpPr>
            <a:spLocks noGrp="1"/>
          </p:cNvSpPr>
          <p:nvPr>
            <p:ph type="body" sz="quarter" idx="22" hasCustomPrompt="1"/>
          </p:nvPr>
        </p:nvSpPr>
        <p:spPr>
          <a:xfrm>
            <a:off x="517629" y="3358874"/>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dirty="0"/>
              <a:t>Job title</a:t>
            </a:r>
            <a:endParaRPr lang="en-US" dirty="0"/>
          </a:p>
        </p:txBody>
      </p:sp>
      <p:sp>
        <p:nvSpPr>
          <p:cNvPr id="24" name="Text Placeholder 10">
            <a:extLst>
              <a:ext uri="{FF2B5EF4-FFF2-40B4-BE49-F238E27FC236}">
                <a16:creationId xmlns:a16="http://schemas.microsoft.com/office/drawing/2014/main" id="{A23863FE-952A-244D-90F7-688D9A0DDD22}"/>
              </a:ext>
            </a:extLst>
          </p:cNvPr>
          <p:cNvSpPr>
            <a:spLocks noGrp="1"/>
          </p:cNvSpPr>
          <p:nvPr>
            <p:ph type="body" sz="quarter" idx="23" hasCustomPrompt="1"/>
          </p:nvPr>
        </p:nvSpPr>
        <p:spPr>
          <a:xfrm>
            <a:off x="7922724" y="5115866"/>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dirty="0"/>
              <a:t>Name Surname</a:t>
            </a:r>
          </a:p>
        </p:txBody>
      </p:sp>
      <p:sp>
        <p:nvSpPr>
          <p:cNvPr id="25" name="Text Placeholder 12">
            <a:extLst>
              <a:ext uri="{FF2B5EF4-FFF2-40B4-BE49-F238E27FC236}">
                <a16:creationId xmlns:a16="http://schemas.microsoft.com/office/drawing/2014/main" id="{A60A29BA-89A0-BA4C-A5D2-BF6E7D66D826}"/>
              </a:ext>
            </a:extLst>
          </p:cNvPr>
          <p:cNvSpPr>
            <a:spLocks noGrp="1"/>
          </p:cNvSpPr>
          <p:nvPr>
            <p:ph type="body" sz="quarter" idx="24" hasCustomPrompt="1"/>
          </p:nvPr>
        </p:nvSpPr>
        <p:spPr>
          <a:xfrm>
            <a:off x="7922633" y="5289326"/>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dirty="0"/>
              <a:t>Job title</a:t>
            </a:r>
            <a:endParaRPr lang="en-US" dirty="0"/>
          </a:p>
        </p:txBody>
      </p:sp>
      <p:sp>
        <p:nvSpPr>
          <p:cNvPr id="26" name="Text Placeholder 10">
            <a:extLst>
              <a:ext uri="{FF2B5EF4-FFF2-40B4-BE49-F238E27FC236}">
                <a16:creationId xmlns:a16="http://schemas.microsoft.com/office/drawing/2014/main" id="{89898E1A-7B68-F04E-8DF9-7DF4AC3F2022}"/>
              </a:ext>
            </a:extLst>
          </p:cNvPr>
          <p:cNvSpPr>
            <a:spLocks noGrp="1"/>
          </p:cNvSpPr>
          <p:nvPr>
            <p:ph type="body" sz="quarter" idx="25" hasCustomPrompt="1"/>
          </p:nvPr>
        </p:nvSpPr>
        <p:spPr>
          <a:xfrm>
            <a:off x="6087954" y="5115866"/>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dirty="0"/>
              <a:t>Name Surname</a:t>
            </a:r>
          </a:p>
        </p:txBody>
      </p:sp>
      <p:sp>
        <p:nvSpPr>
          <p:cNvPr id="27" name="Text Placeholder 12">
            <a:extLst>
              <a:ext uri="{FF2B5EF4-FFF2-40B4-BE49-F238E27FC236}">
                <a16:creationId xmlns:a16="http://schemas.microsoft.com/office/drawing/2014/main" id="{FE65C65B-35EF-AF42-937E-CB58BD9F5DC3}"/>
              </a:ext>
            </a:extLst>
          </p:cNvPr>
          <p:cNvSpPr>
            <a:spLocks noGrp="1"/>
          </p:cNvSpPr>
          <p:nvPr>
            <p:ph type="body" sz="quarter" idx="26" hasCustomPrompt="1"/>
          </p:nvPr>
        </p:nvSpPr>
        <p:spPr>
          <a:xfrm>
            <a:off x="6087863" y="5289326"/>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dirty="0"/>
              <a:t>Job title</a:t>
            </a:r>
            <a:endParaRPr lang="en-US" dirty="0"/>
          </a:p>
        </p:txBody>
      </p:sp>
      <p:sp>
        <p:nvSpPr>
          <p:cNvPr id="28" name="Text Placeholder 10">
            <a:extLst>
              <a:ext uri="{FF2B5EF4-FFF2-40B4-BE49-F238E27FC236}">
                <a16:creationId xmlns:a16="http://schemas.microsoft.com/office/drawing/2014/main" id="{E8818411-28B7-E348-8FC0-16EA9B5CD6E8}"/>
              </a:ext>
            </a:extLst>
          </p:cNvPr>
          <p:cNvSpPr>
            <a:spLocks noGrp="1"/>
          </p:cNvSpPr>
          <p:nvPr>
            <p:ph type="body" sz="quarter" idx="27" hasCustomPrompt="1"/>
          </p:nvPr>
        </p:nvSpPr>
        <p:spPr>
          <a:xfrm>
            <a:off x="4191055" y="5115866"/>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dirty="0"/>
              <a:t>Name Surname</a:t>
            </a:r>
          </a:p>
        </p:txBody>
      </p:sp>
      <p:sp>
        <p:nvSpPr>
          <p:cNvPr id="29" name="Text Placeholder 12">
            <a:extLst>
              <a:ext uri="{FF2B5EF4-FFF2-40B4-BE49-F238E27FC236}">
                <a16:creationId xmlns:a16="http://schemas.microsoft.com/office/drawing/2014/main" id="{1D298B64-DB9D-7D4F-85F5-13A6775E23B2}"/>
              </a:ext>
            </a:extLst>
          </p:cNvPr>
          <p:cNvSpPr>
            <a:spLocks noGrp="1"/>
          </p:cNvSpPr>
          <p:nvPr>
            <p:ph type="body" sz="quarter" idx="28" hasCustomPrompt="1"/>
          </p:nvPr>
        </p:nvSpPr>
        <p:spPr>
          <a:xfrm>
            <a:off x="4190964" y="5289326"/>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dirty="0"/>
              <a:t>Job title</a:t>
            </a:r>
            <a:endParaRPr lang="en-US" dirty="0"/>
          </a:p>
        </p:txBody>
      </p:sp>
      <p:sp>
        <p:nvSpPr>
          <p:cNvPr id="30" name="Text Placeholder 10">
            <a:extLst>
              <a:ext uri="{FF2B5EF4-FFF2-40B4-BE49-F238E27FC236}">
                <a16:creationId xmlns:a16="http://schemas.microsoft.com/office/drawing/2014/main" id="{CA7EE175-F504-A241-BB9E-4B63D9421241}"/>
              </a:ext>
            </a:extLst>
          </p:cNvPr>
          <p:cNvSpPr>
            <a:spLocks noGrp="1"/>
          </p:cNvSpPr>
          <p:nvPr>
            <p:ph type="body" sz="quarter" idx="29" hasCustomPrompt="1"/>
          </p:nvPr>
        </p:nvSpPr>
        <p:spPr>
          <a:xfrm>
            <a:off x="2361375" y="5115866"/>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dirty="0"/>
              <a:t>Name Surname</a:t>
            </a:r>
          </a:p>
        </p:txBody>
      </p:sp>
      <p:sp>
        <p:nvSpPr>
          <p:cNvPr id="31" name="Text Placeholder 12">
            <a:extLst>
              <a:ext uri="{FF2B5EF4-FFF2-40B4-BE49-F238E27FC236}">
                <a16:creationId xmlns:a16="http://schemas.microsoft.com/office/drawing/2014/main" id="{33A5E4BB-C47B-5146-8E48-1E9A4ED09F28}"/>
              </a:ext>
            </a:extLst>
          </p:cNvPr>
          <p:cNvSpPr>
            <a:spLocks noGrp="1"/>
          </p:cNvSpPr>
          <p:nvPr>
            <p:ph type="body" sz="quarter" idx="30" hasCustomPrompt="1"/>
          </p:nvPr>
        </p:nvSpPr>
        <p:spPr>
          <a:xfrm>
            <a:off x="2361284" y="5289326"/>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dirty="0"/>
              <a:t>Job title</a:t>
            </a:r>
            <a:endParaRPr lang="en-US" dirty="0"/>
          </a:p>
        </p:txBody>
      </p:sp>
      <p:sp>
        <p:nvSpPr>
          <p:cNvPr id="32" name="Text Placeholder 10">
            <a:extLst>
              <a:ext uri="{FF2B5EF4-FFF2-40B4-BE49-F238E27FC236}">
                <a16:creationId xmlns:a16="http://schemas.microsoft.com/office/drawing/2014/main" id="{CDFCD2CC-774B-7C45-B5EF-4845C476F627}"/>
              </a:ext>
            </a:extLst>
          </p:cNvPr>
          <p:cNvSpPr>
            <a:spLocks noGrp="1"/>
          </p:cNvSpPr>
          <p:nvPr>
            <p:ph type="body" sz="quarter" idx="31" hasCustomPrompt="1"/>
          </p:nvPr>
        </p:nvSpPr>
        <p:spPr>
          <a:xfrm>
            <a:off x="517720" y="5115866"/>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dirty="0"/>
              <a:t>Name Surname</a:t>
            </a:r>
          </a:p>
        </p:txBody>
      </p:sp>
      <p:sp>
        <p:nvSpPr>
          <p:cNvPr id="33" name="Text Placeholder 12">
            <a:extLst>
              <a:ext uri="{FF2B5EF4-FFF2-40B4-BE49-F238E27FC236}">
                <a16:creationId xmlns:a16="http://schemas.microsoft.com/office/drawing/2014/main" id="{54099D0C-11DE-564E-87CD-3D7CA122E369}"/>
              </a:ext>
            </a:extLst>
          </p:cNvPr>
          <p:cNvSpPr>
            <a:spLocks noGrp="1"/>
          </p:cNvSpPr>
          <p:nvPr>
            <p:ph type="body" sz="quarter" idx="32" hasCustomPrompt="1"/>
          </p:nvPr>
        </p:nvSpPr>
        <p:spPr>
          <a:xfrm>
            <a:off x="517629" y="5289326"/>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dirty="0"/>
              <a:t>Job title</a:t>
            </a:r>
            <a:endParaRPr lang="en-US" dirty="0"/>
          </a:p>
        </p:txBody>
      </p:sp>
      <p:sp>
        <p:nvSpPr>
          <p:cNvPr id="3" name="Picture Placeholder 2">
            <a:extLst>
              <a:ext uri="{FF2B5EF4-FFF2-40B4-BE49-F238E27FC236}">
                <a16:creationId xmlns:a16="http://schemas.microsoft.com/office/drawing/2014/main" id="{98E5176D-C25B-0B4F-9953-18721D7311C3}"/>
              </a:ext>
            </a:extLst>
          </p:cNvPr>
          <p:cNvSpPr>
            <a:spLocks noGrp="1"/>
          </p:cNvSpPr>
          <p:nvPr>
            <p:ph type="pic" sz="quarter" idx="33"/>
          </p:nvPr>
        </p:nvSpPr>
        <p:spPr>
          <a:xfrm>
            <a:off x="518540" y="2012178"/>
            <a:ext cx="1643869" cy="1058862"/>
          </a:xfrm>
          <a:prstGeom prst="rect">
            <a:avLst/>
          </a:prstGeom>
          <a:noFill/>
        </p:spPr>
        <p:txBody>
          <a:bodyPr/>
          <a:lstStyle/>
          <a:p>
            <a:endParaRPr lang="en-US" dirty="0"/>
          </a:p>
        </p:txBody>
      </p:sp>
      <p:sp>
        <p:nvSpPr>
          <p:cNvPr id="34" name="Picture Placeholder 2">
            <a:extLst>
              <a:ext uri="{FF2B5EF4-FFF2-40B4-BE49-F238E27FC236}">
                <a16:creationId xmlns:a16="http://schemas.microsoft.com/office/drawing/2014/main" id="{3034D6EA-24FA-B44E-B175-A69466B69136}"/>
              </a:ext>
            </a:extLst>
          </p:cNvPr>
          <p:cNvSpPr>
            <a:spLocks noGrp="1"/>
          </p:cNvSpPr>
          <p:nvPr>
            <p:ph type="pic" sz="quarter" idx="34"/>
          </p:nvPr>
        </p:nvSpPr>
        <p:spPr>
          <a:xfrm>
            <a:off x="2361401" y="2012178"/>
            <a:ext cx="1643869" cy="1058862"/>
          </a:xfrm>
          <a:prstGeom prst="rect">
            <a:avLst/>
          </a:prstGeom>
        </p:spPr>
        <p:txBody>
          <a:bodyPr/>
          <a:lstStyle/>
          <a:p>
            <a:endParaRPr lang="en-US" dirty="0"/>
          </a:p>
        </p:txBody>
      </p:sp>
      <p:sp>
        <p:nvSpPr>
          <p:cNvPr id="35" name="Picture Placeholder 2">
            <a:extLst>
              <a:ext uri="{FF2B5EF4-FFF2-40B4-BE49-F238E27FC236}">
                <a16:creationId xmlns:a16="http://schemas.microsoft.com/office/drawing/2014/main" id="{F6C71354-D9C6-0944-A6F7-99F3174B5B91}"/>
              </a:ext>
            </a:extLst>
          </p:cNvPr>
          <p:cNvSpPr>
            <a:spLocks noGrp="1"/>
          </p:cNvSpPr>
          <p:nvPr>
            <p:ph type="pic" sz="quarter" idx="35"/>
          </p:nvPr>
        </p:nvSpPr>
        <p:spPr>
          <a:xfrm>
            <a:off x="4197453" y="2012178"/>
            <a:ext cx="1643869" cy="1058862"/>
          </a:xfrm>
          <a:prstGeom prst="rect">
            <a:avLst/>
          </a:prstGeom>
        </p:spPr>
        <p:txBody>
          <a:bodyPr/>
          <a:lstStyle/>
          <a:p>
            <a:endParaRPr lang="en-US" dirty="0"/>
          </a:p>
        </p:txBody>
      </p:sp>
      <p:sp>
        <p:nvSpPr>
          <p:cNvPr id="36" name="Picture Placeholder 2">
            <a:extLst>
              <a:ext uri="{FF2B5EF4-FFF2-40B4-BE49-F238E27FC236}">
                <a16:creationId xmlns:a16="http://schemas.microsoft.com/office/drawing/2014/main" id="{44E7A985-A721-C642-8A01-B43F591F76EE}"/>
              </a:ext>
            </a:extLst>
          </p:cNvPr>
          <p:cNvSpPr>
            <a:spLocks noGrp="1"/>
          </p:cNvSpPr>
          <p:nvPr>
            <p:ph type="pic" sz="quarter" idx="36"/>
          </p:nvPr>
        </p:nvSpPr>
        <p:spPr>
          <a:xfrm>
            <a:off x="6085092" y="2012178"/>
            <a:ext cx="1643869" cy="1058862"/>
          </a:xfrm>
          <a:prstGeom prst="rect">
            <a:avLst/>
          </a:prstGeom>
        </p:spPr>
        <p:txBody>
          <a:bodyPr/>
          <a:lstStyle/>
          <a:p>
            <a:endParaRPr lang="en-US" dirty="0"/>
          </a:p>
        </p:txBody>
      </p:sp>
      <p:sp>
        <p:nvSpPr>
          <p:cNvPr id="37" name="Picture Placeholder 2">
            <a:extLst>
              <a:ext uri="{FF2B5EF4-FFF2-40B4-BE49-F238E27FC236}">
                <a16:creationId xmlns:a16="http://schemas.microsoft.com/office/drawing/2014/main" id="{5FA04993-DD2D-FE4F-9418-231283FBC620}"/>
              </a:ext>
            </a:extLst>
          </p:cNvPr>
          <p:cNvSpPr>
            <a:spLocks noGrp="1"/>
          </p:cNvSpPr>
          <p:nvPr>
            <p:ph type="pic" sz="quarter" idx="37"/>
          </p:nvPr>
        </p:nvSpPr>
        <p:spPr>
          <a:xfrm>
            <a:off x="7927464" y="2012178"/>
            <a:ext cx="1643869" cy="1058862"/>
          </a:xfrm>
          <a:prstGeom prst="rect">
            <a:avLst/>
          </a:prstGeom>
        </p:spPr>
        <p:txBody>
          <a:bodyPr/>
          <a:lstStyle/>
          <a:p>
            <a:endParaRPr lang="en-US" dirty="0"/>
          </a:p>
        </p:txBody>
      </p:sp>
      <p:sp>
        <p:nvSpPr>
          <p:cNvPr id="38" name="Picture Placeholder 2">
            <a:extLst>
              <a:ext uri="{FF2B5EF4-FFF2-40B4-BE49-F238E27FC236}">
                <a16:creationId xmlns:a16="http://schemas.microsoft.com/office/drawing/2014/main" id="{F831207F-DC8C-AA47-AFC2-667CF2F429E4}"/>
              </a:ext>
            </a:extLst>
          </p:cNvPr>
          <p:cNvSpPr>
            <a:spLocks noGrp="1"/>
          </p:cNvSpPr>
          <p:nvPr>
            <p:ph type="pic" sz="quarter" idx="38"/>
          </p:nvPr>
        </p:nvSpPr>
        <p:spPr>
          <a:xfrm>
            <a:off x="518540" y="3942630"/>
            <a:ext cx="1643869" cy="1058862"/>
          </a:xfrm>
          <a:prstGeom prst="rect">
            <a:avLst/>
          </a:prstGeom>
        </p:spPr>
        <p:txBody>
          <a:bodyPr/>
          <a:lstStyle/>
          <a:p>
            <a:endParaRPr lang="en-US" dirty="0"/>
          </a:p>
        </p:txBody>
      </p:sp>
      <p:sp>
        <p:nvSpPr>
          <p:cNvPr id="39" name="Picture Placeholder 2">
            <a:extLst>
              <a:ext uri="{FF2B5EF4-FFF2-40B4-BE49-F238E27FC236}">
                <a16:creationId xmlns:a16="http://schemas.microsoft.com/office/drawing/2014/main" id="{A2F6536A-9693-E841-AD61-8C359448084F}"/>
              </a:ext>
            </a:extLst>
          </p:cNvPr>
          <p:cNvSpPr>
            <a:spLocks noGrp="1"/>
          </p:cNvSpPr>
          <p:nvPr>
            <p:ph type="pic" sz="quarter" idx="39"/>
          </p:nvPr>
        </p:nvSpPr>
        <p:spPr>
          <a:xfrm>
            <a:off x="2361401" y="3942630"/>
            <a:ext cx="1643869" cy="1058862"/>
          </a:xfrm>
          <a:prstGeom prst="rect">
            <a:avLst/>
          </a:prstGeom>
        </p:spPr>
        <p:txBody>
          <a:bodyPr/>
          <a:lstStyle/>
          <a:p>
            <a:endParaRPr lang="en-US" dirty="0"/>
          </a:p>
        </p:txBody>
      </p:sp>
      <p:sp>
        <p:nvSpPr>
          <p:cNvPr id="40" name="Picture Placeholder 2">
            <a:extLst>
              <a:ext uri="{FF2B5EF4-FFF2-40B4-BE49-F238E27FC236}">
                <a16:creationId xmlns:a16="http://schemas.microsoft.com/office/drawing/2014/main" id="{28EFB759-7961-0F4B-9DA2-9B07D82B3B79}"/>
              </a:ext>
            </a:extLst>
          </p:cNvPr>
          <p:cNvSpPr>
            <a:spLocks noGrp="1"/>
          </p:cNvSpPr>
          <p:nvPr>
            <p:ph type="pic" sz="quarter" idx="40"/>
          </p:nvPr>
        </p:nvSpPr>
        <p:spPr>
          <a:xfrm>
            <a:off x="4197453" y="3942630"/>
            <a:ext cx="1643869" cy="1058862"/>
          </a:xfrm>
          <a:prstGeom prst="rect">
            <a:avLst/>
          </a:prstGeom>
        </p:spPr>
        <p:txBody>
          <a:bodyPr/>
          <a:lstStyle/>
          <a:p>
            <a:endParaRPr lang="en-US" dirty="0"/>
          </a:p>
        </p:txBody>
      </p:sp>
      <p:sp>
        <p:nvSpPr>
          <p:cNvPr id="41" name="Picture Placeholder 2">
            <a:extLst>
              <a:ext uri="{FF2B5EF4-FFF2-40B4-BE49-F238E27FC236}">
                <a16:creationId xmlns:a16="http://schemas.microsoft.com/office/drawing/2014/main" id="{F10325A2-6AE5-2B40-BA16-62A41FF09948}"/>
              </a:ext>
            </a:extLst>
          </p:cNvPr>
          <p:cNvSpPr>
            <a:spLocks noGrp="1"/>
          </p:cNvSpPr>
          <p:nvPr>
            <p:ph type="pic" sz="quarter" idx="41"/>
          </p:nvPr>
        </p:nvSpPr>
        <p:spPr>
          <a:xfrm>
            <a:off x="6085092" y="3942630"/>
            <a:ext cx="1643869" cy="1058862"/>
          </a:xfrm>
          <a:prstGeom prst="rect">
            <a:avLst/>
          </a:prstGeom>
        </p:spPr>
        <p:txBody>
          <a:bodyPr/>
          <a:lstStyle/>
          <a:p>
            <a:endParaRPr lang="en-US" dirty="0"/>
          </a:p>
        </p:txBody>
      </p:sp>
      <p:sp>
        <p:nvSpPr>
          <p:cNvPr id="42" name="Picture Placeholder 2">
            <a:extLst>
              <a:ext uri="{FF2B5EF4-FFF2-40B4-BE49-F238E27FC236}">
                <a16:creationId xmlns:a16="http://schemas.microsoft.com/office/drawing/2014/main" id="{48548331-C398-0441-8680-2BC2E34EA6B7}"/>
              </a:ext>
            </a:extLst>
          </p:cNvPr>
          <p:cNvSpPr>
            <a:spLocks noGrp="1"/>
          </p:cNvSpPr>
          <p:nvPr>
            <p:ph type="pic" sz="quarter" idx="42"/>
          </p:nvPr>
        </p:nvSpPr>
        <p:spPr>
          <a:xfrm>
            <a:off x="7927464" y="3942630"/>
            <a:ext cx="1643869" cy="1058862"/>
          </a:xfrm>
          <a:prstGeom prst="rect">
            <a:avLst/>
          </a:prstGeom>
        </p:spPr>
        <p:txBody>
          <a:bodyPr/>
          <a:lstStyle/>
          <a:p>
            <a:endParaRPr lang="en-US" dirty="0"/>
          </a:p>
        </p:txBody>
      </p:sp>
      <p:sp>
        <p:nvSpPr>
          <p:cNvPr id="43" name="Picture Placeholder 2">
            <a:extLst>
              <a:ext uri="{FF2B5EF4-FFF2-40B4-BE49-F238E27FC236}">
                <a16:creationId xmlns:a16="http://schemas.microsoft.com/office/drawing/2014/main" id="{DD52C364-564D-1C4F-82AA-CD456091DD55}"/>
              </a:ext>
            </a:extLst>
          </p:cNvPr>
          <p:cNvSpPr>
            <a:spLocks noGrp="1"/>
          </p:cNvSpPr>
          <p:nvPr>
            <p:ph type="pic" sz="quarter" idx="43"/>
          </p:nvPr>
        </p:nvSpPr>
        <p:spPr>
          <a:xfrm>
            <a:off x="6632170" y="611157"/>
            <a:ext cx="1643869" cy="1058862"/>
          </a:xfrm>
          <a:prstGeom prst="rect">
            <a:avLst/>
          </a:prstGeom>
        </p:spPr>
        <p:txBody>
          <a:bodyPr/>
          <a:lstStyle/>
          <a:p>
            <a:endParaRPr lang="en-US" dirty="0"/>
          </a:p>
        </p:txBody>
      </p:sp>
      <p:sp>
        <p:nvSpPr>
          <p:cNvPr id="44" name="Text Placeholder 10">
            <a:extLst>
              <a:ext uri="{FF2B5EF4-FFF2-40B4-BE49-F238E27FC236}">
                <a16:creationId xmlns:a16="http://schemas.microsoft.com/office/drawing/2014/main" id="{34A5EC81-F5AA-BD4F-AD20-F610E3D2A6A9}"/>
              </a:ext>
            </a:extLst>
          </p:cNvPr>
          <p:cNvSpPr>
            <a:spLocks noGrp="1"/>
          </p:cNvSpPr>
          <p:nvPr>
            <p:ph type="body" sz="quarter" idx="44" hasCustomPrompt="1"/>
          </p:nvPr>
        </p:nvSpPr>
        <p:spPr>
          <a:xfrm>
            <a:off x="9759476" y="3185414"/>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dirty="0"/>
              <a:t>Name Surname</a:t>
            </a:r>
          </a:p>
        </p:txBody>
      </p:sp>
      <p:sp>
        <p:nvSpPr>
          <p:cNvPr id="45" name="Text Placeholder 12">
            <a:extLst>
              <a:ext uri="{FF2B5EF4-FFF2-40B4-BE49-F238E27FC236}">
                <a16:creationId xmlns:a16="http://schemas.microsoft.com/office/drawing/2014/main" id="{F8D452BD-BCAB-8E4B-8F90-5D25276410E3}"/>
              </a:ext>
            </a:extLst>
          </p:cNvPr>
          <p:cNvSpPr>
            <a:spLocks noGrp="1"/>
          </p:cNvSpPr>
          <p:nvPr>
            <p:ph type="body" sz="quarter" idx="45" hasCustomPrompt="1"/>
          </p:nvPr>
        </p:nvSpPr>
        <p:spPr>
          <a:xfrm>
            <a:off x="9759385" y="3358874"/>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dirty="0"/>
              <a:t>Job title</a:t>
            </a:r>
            <a:endParaRPr lang="en-US" dirty="0"/>
          </a:p>
        </p:txBody>
      </p:sp>
      <p:sp>
        <p:nvSpPr>
          <p:cNvPr id="46" name="Text Placeholder 10">
            <a:extLst>
              <a:ext uri="{FF2B5EF4-FFF2-40B4-BE49-F238E27FC236}">
                <a16:creationId xmlns:a16="http://schemas.microsoft.com/office/drawing/2014/main" id="{3C461A69-4097-4449-90FF-4E186AE70D69}"/>
              </a:ext>
            </a:extLst>
          </p:cNvPr>
          <p:cNvSpPr>
            <a:spLocks noGrp="1"/>
          </p:cNvSpPr>
          <p:nvPr>
            <p:ph type="body" sz="quarter" idx="46" hasCustomPrompt="1"/>
          </p:nvPr>
        </p:nvSpPr>
        <p:spPr>
          <a:xfrm>
            <a:off x="9759476" y="5115866"/>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dirty="0"/>
              <a:t>Name Surname</a:t>
            </a:r>
          </a:p>
        </p:txBody>
      </p:sp>
      <p:sp>
        <p:nvSpPr>
          <p:cNvPr id="47" name="Text Placeholder 12">
            <a:extLst>
              <a:ext uri="{FF2B5EF4-FFF2-40B4-BE49-F238E27FC236}">
                <a16:creationId xmlns:a16="http://schemas.microsoft.com/office/drawing/2014/main" id="{8CF0C9D9-5593-DE4A-8CDE-70AC8BAEB3F3}"/>
              </a:ext>
            </a:extLst>
          </p:cNvPr>
          <p:cNvSpPr>
            <a:spLocks noGrp="1"/>
          </p:cNvSpPr>
          <p:nvPr>
            <p:ph type="body" sz="quarter" idx="47" hasCustomPrompt="1"/>
          </p:nvPr>
        </p:nvSpPr>
        <p:spPr>
          <a:xfrm>
            <a:off x="9759385" y="5289326"/>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dirty="0"/>
              <a:t>Job title</a:t>
            </a:r>
            <a:endParaRPr lang="en-US" dirty="0"/>
          </a:p>
        </p:txBody>
      </p:sp>
      <p:sp>
        <p:nvSpPr>
          <p:cNvPr id="48" name="Picture Placeholder 2">
            <a:extLst>
              <a:ext uri="{FF2B5EF4-FFF2-40B4-BE49-F238E27FC236}">
                <a16:creationId xmlns:a16="http://schemas.microsoft.com/office/drawing/2014/main" id="{130CC36B-383B-694A-B2BC-DC26B0643A4B}"/>
              </a:ext>
            </a:extLst>
          </p:cNvPr>
          <p:cNvSpPr>
            <a:spLocks noGrp="1"/>
          </p:cNvSpPr>
          <p:nvPr>
            <p:ph type="pic" sz="quarter" idx="48"/>
          </p:nvPr>
        </p:nvSpPr>
        <p:spPr>
          <a:xfrm>
            <a:off x="9764216" y="2012178"/>
            <a:ext cx="1643869" cy="1058862"/>
          </a:xfrm>
          <a:prstGeom prst="rect">
            <a:avLst/>
          </a:prstGeom>
        </p:spPr>
        <p:txBody>
          <a:bodyPr/>
          <a:lstStyle/>
          <a:p>
            <a:endParaRPr lang="en-US" dirty="0"/>
          </a:p>
        </p:txBody>
      </p:sp>
      <p:sp>
        <p:nvSpPr>
          <p:cNvPr id="49" name="Picture Placeholder 2">
            <a:extLst>
              <a:ext uri="{FF2B5EF4-FFF2-40B4-BE49-F238E27FC236}">
                <a16:creationId xmlns:a16="http://schemas.microsoft.com/office/drawing/2014/main" id="{426D85E2-E3EC-D747-8E19-BC2E5FD68A65}"/>
              </a:ext>
            </a:extLst>
          </p:cNvPr>
          <p:cNvSpPr>
            <a:spLocks noGrp="1"/>
          </p:cNvSpPr>
          <p:nvPr>
            <p:ph type="pic" sz="quarter" idx="49"/>
          </p:nvPr>
        </p:nvSpPr>
        <p:spPr>
          <a:xfrm>
            <a:off x="9764216" y="3942630"/>
            <a:ext cx="1643869" cy="1058862"/>
          </a:xfrm>
          <a:prstGeom prst="rect">
            <a:avLst/>
          </a:prstGeom>
        </p:spPr>
        <p:txBody>
          <a:bodyPr/>
          <a:lstStyle/>
          <a:p>
            <a:endParaRPr lang="en-US" dirty="0"/>
          </a:p>
        </p:txBody>
      </p:sp>
      <p:pic>
        <p:nvPicPr>
          <p:cNvPr id="50" name="Picture 49">
            <a:extLst>
              <a:ext uri="{FF2B5EF4-FFF2-40B4-BE49-F238E27FC236}">
                <a16:creationId xmlns:a16="http://schemas.microsoft.com/office/drawing/2014/main" id="{4FAF91A6-FFE3-3C47-BB4D-3B6CAF6F3511}"/>
              </a:ext>
            </a:extLst>
          </p:cNvPr>
          <p:cNvPicPr>
            <a:picLocks noChangeAspect="1"/>
          </p:cNvPicPr>
          <p:nvPr/>
        </p:nvPicPr>
        <p:blipFill>
          <a:blip r:embed="rId2"/>
          <a:stretch>
            <a:fillRect/>
          </a:stretch>
        </p:blipFill>
        <p:spPr>
          <a:xfrm>
            <a:off x="0" y="5816600"/>
            <a:ext cx="12192000" cy="1041400"/>
          </a:xfrm>
          <a:prstGeom prst="rect">
            <a:avLst/>
          </a:prstGeom>
        </p:spPr>
      </p:pic>
    </p:spTree>
    <p:extLst>
      <p:ext uri="{BB962C8B-B14F-4D97-AF65-F5344CB8AC3E}">
        <p14:creationId xmlns:p14="http://schemas.microsoft.com/office/powerpoint/2010/main" val="240835520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ivider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40000" y="2672976"/>
            <a:ext cx="9216000" cy="540000"/>
          </a:xfrm>
        </p:spPr>
        <p:txBody>
          <a:bodyPr anchor="b"/>
          <a:lstStyle>
            <a:lvl1pPr>
              <a:defRPr b="1" cap="none" baseline="0">
                <a:latin typeface="Frutiger LT 55 Roman" panose="020B0602020204020204" pitchFamily="34" charset="0"/>
              </a:defRPr>
            </a:lvl1pPr>
          </a:lstStyle>
          <a:p>
            <a:r>
              <a:rPr lang="en-US"/>
              <a:t>Click to edit Master title style</a:t>
            </a:r>
            <a:endParaRPr lang="en-GB" dirty="0"/>
          </a:p>
        </p:txBody>
      </p:sp>
      <p:sp>
        <p:nvSpPr>
          <p:cNvPr id="11" name="Subtitle 2"/>
          <p:cNvSpPr>
            <a:spLocks noGrp="1"/>
          </p:cNvSpPr>
          <p:nvPr>
            <p:ph type="subTitle" idx="1"/>
          </p:nvPr>
        </p:nvSpPr>
        <p:spPr>
          <a:xfrm>
            <a:off x="1440000" y="3212976"/>
            <a:ext cx="9216000" cy="432000"/>
          </a:xfrm>
        </p:spPr>
        <p:txBody>
          <a:bodyPr>
            <a:normAutofit/>
          </a:bodyPr>
          <a:lstStyle>
            <a:lvl1pPr marL="0" indent="0" algn="l">
              <a:buNone/>
              <a:defRPr lang="en-GB" sz="2400" kern="1200" cap="none" baseline="0" dirty="0" smtClean="0">
                <a:solidFill>
                  <a:schemeClr val="accent2"/>
                </a:solidFill>
                <a:latin typeface="+mn-lt"/>
                <a:ea typeface="+mn-ea"/>
                <a:cs typeface="+mn-cs"/>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GB" dirty="0"/>
          </a:p>
        </p:txBody>
      </p:sp>
      <p:sp>
        <p:nvSpPr>
          <p:cNvPr id="4" name="Footer Placeholder 6">
            <a:extLst>
              <a:ext uri="{FF2B5EF4-FFF2-40B4-BE49-F238E27FC236}">
                <a16:creationId xmlns:a16="http://schemas.microsoft.com/office/drawing/2014/main" id="{BA7AAD88-4F15-4D4D-9495-5FCE1F6AD655}"/>
              </a:ext>
            </a:extLst>
          </p:cNvPr>
          <p:cNvSpPr>
            <a:spLocks noGrp="1"/>
          </p:cNvSpPr>
          <p:nvPr>
            <p:ph type="ftr" sz="quarter" idx="10"/>
          </p:nvPr>
        </p:nvSpPr>
        <p:spPr>
          <a:xfrm>
            <a:off x="643467" y="6284384"/>
            <a:ext cx="8595784" cy="404283"/>
          </a:xfrm>
        </p:spPr>
        <p:txBody>
          <a:bodyPr/>
          <a:lstStyle>
            <a:lvl1pPr>
              <a:defRPr sz="933"/>
            </a:lvl1pPr>
          </a:lstStyle>
          <a:p>
            <a:pPr>
              <a:defRPr/>
            </a:pPr>
            <a:r>
              <a:rPr lang="en-GB" altLang="en-US" dirty="0"/>
              <a:t>Document Title | BUSINESS UNIT(S) | OFFICIAL – SENSITIVE: SNI | SUBJECT TO EXPORT CONTROL | LEGALLY PRIVILEGED | PROTECT – PRIVATE | PROTECT – COMMERCIAL &amp; CONTRACTS | NOT PROTECTIVELY MARKED | © 2020 EDF Energy Ltd. All rights Reserved.</a:t>
            </a:r>
          </a:p>
        </p:txBody>
      </p:sp>
      <p:sp>
        <p:nvSpPr>
          <p:cNvPr id="5" name="Slide Number Placeholder 7">
            <a:extLst>
              <a:ext uri="{FF2B5EF4-FFF2-40B4-BE49-F238E27FC236}">
                <a16:creationId xmlns:a16="http://schemas.microsoft.com/office/drawing/2014/main" id="{6FA224D8-E39D-431B-A151-805AC97ADEEA}"/>
              </a:ext>
            </a:extLst>
          </p:cNvPr>
          <p:cNvSpPr>
            <a:spLocks noGrp="1"/>
          </p:cNvSpPr>
          <p:nvPr>
            <p:ph type="sldNum" sz="quarter" idx="11"/>
          </p:nvPr>
        </p:nvSpPr>
        <p:spPr>
          <a:xfrm>
            <a:off x="67734" y="6284384"/>
            <a:ext cx="575733" cy="404283"/>
          </a:xfrm>
        </p:spPr>
        <p:txBody>
          <a:bodyPr/>
          <a:lstStyle>
            <a:lvl1pPr>
              <a:defRPr/>
            </a:lvl1pPr>
          </a:lstStyle>
          <a:p>
            <a:pPr>
              <a:defRPr/>
            </a:pPr>
            <a:fld id="{EF6347D4-498E-49FD-AB33-45470D899B89}" type="slidenum">
              <a:rPr lang="en-GB" altLang="en-US"/>
              <a:pPr>
                <a:defRPr/>
              </a:pPr>
              <a:t>‹#›</a:t>
            </a:fld>
            <a:endParaRPr lang="en-GB" altLang="en-US" dirty="0"/>
          </a:p>
        </p:txBody>
      </p:sp>
    </p:spTree>
    <p:extLst>
      <p:ext uri="{BB962C8B-B14F-4D97-AF65-F5344CB8AC3E}">
        <p14:creationId xmlns:p14="http://schemas.microsoft.com/office/powerpoint/2010/main" val="282704935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ullets and Content">
    <p:spTree>
      <p:nvGrpSpPr>
        <p:cNvPr id="1" name=""/>
        <p:cNvGrpSpPr/>
        <p:nvPr/>
      </p:nvGrpSpPr>
      <p:grpSpPr>
        <a:xfrm>
          <a:off x="0" y="0"/>
          <a:ext cx="0" cy="0"/>
          <a:chOff x="0" y="0"/>
          <a:chExt cx="0" cy="0"/>
        </a:xfrm>
      </p:grpSpPr>
      <p:sp>
        <p:nvSpPr>
          <p:cNvPr id="11" name="Title 10"/>
          <p:cNvSpPr>
            <a:spLocks noGrp="1"/>
          </p:cNvSpPr>
          <p:nvPr>
            <p:ph type="title"/>
          </p:nvPr>
        </p:nvSpPr>
        <p:spPr>
          <a:xfrm>
            <a:off x="1358901" y="424801"/>
            <a:ext cx="10441280" cy="867105"/>
          </a:xfrm>
        </p:spPr>
        <p:txBody>
          <a:bodyPr>
            <a:normAutofit/>
          </a:bodyPr>
          <a:lstStyle>
            <a:lvl1pPr>
              <a:defRPr sz="3467"/>
            </a:lvl1pPr>
          </a:lstStyle>
          <a:p>
            <a:r>
              <a:rPr lang="en-US"/>
              <a:t>Click to edit Master title style</a:t>
            </a:r>
            <a:endParaRPr lang="en-GB" dirty="0"/>
          </a:p>
        </p:txBody>
      </p:sp>
      <p:sp>
        <p:nvSpPr>
          <p:cNvPr id="12" name="Content Placeholder 3"/>
          <p:cNvSpPr>
            <a:spLocks noGrp="1"/>
          </p:cNvSpPr>
          <p:nvPr>
            <p:ph sz="quarter" idx="12"/>
          </p:nvPr>
        </p:nvSpPr>
        <p:spPr>
          <a:xfrm>
            <a:off x="1358901" y="1268412"/>
            <a:ext cx="10441280" cy="4392000"/>
          </a:xfrm>
        </p:spPr>
        <p:txBody>
          <a:bodyPr>
            <a:normAutofit/>
          </a:bodyPr>
          <a:lstStyle>
            <a:lvl1pPr marL="455989" indent="-455989">
              <a:buFont typeface="Arial" panose="020B0604020202020204" pitchFamily="34" charset="0"/>
              <a:buChar char="•"/>
              <a:defRPr sz="2667"/>
            </a:lvl1pPr>
            <a:lvl2pPr marL="921577" indent="-446389">
              <a:buFont typeface="Arial" panose="020B0604020202020204" pitchFamily="34" charset="0"/>
              <a:buChar char="-"/>
              <a:tabLst/>
              <a:defRPr lang="en-US" sz="2667" kern="1200" dirty="0" smtClean="0">
                <a:solidFill>
                  <a:schemeClr val="tx1"/>
                </a:solidFill>
                <a:latin typeface="Frutiger LT 45 Light" pitchFamily="34" charset="0"/>
                <a:ea typeface="+mn-ea"/>
                <a:cs typeface="+mn-cs"/>
              </a:defRPr>
            </a:lvl2pPr>
            <a:lvl3pPr marL="1377566" indent="-455989" defTabSz="1312301">
              <a:defRPr lang="en-US" sz="2667" kern="1200" dirty="0" smtClean="0">
                <a:solidFill>
                  <a:schemeClr val="tx1"/>
                </a:solidFill>
                <a:latin typeface="Frutiger LT 45 Light" pitchFamily="34" charset="0"/>
                <a:ea typeface="+mn-ea"/>
                <a:cs typeface="+mn-cs"/>
              </a:defRPr>
            </a:lvl3pPr>
            <a:lvl4pPr marL="1847954" indent="-446389">
              <a:buFont typeface="Arial" panose="020B0604020202020204" pitchFamily="34" charset="0"/>
              <a:buChar char="-"/>
              <a:tabLst/>
              <a:defRPr lang="en-US" sz="2667" kern="1200" dirty="0" smtClean="0">
                <a:solidFill>
                  <a:schemeClr val="tx1"/>
                </a:solidFill>
                <a:latin typeface="Frutiger LT 45 Light" pitchFamily="34" charset="0"/>
                <a:ea typeface="+mn-ea"/>
                <a:cs typeface="+mn-cs"/>
              </a:defRPr>
            </a:lvl4pPr>
            <a:lvl5pPr marL="2366341" indent="-513587">
              <a:tabLst/>
              <a:defRPr lang="en-GB" sz="2667" kern="1200" dirty="0">
                <a:solidFill>
                  <a:schemeClr val="tx1"/>
                </a:solidFill>
                <a:latin typeface="Frutiger LT 45 Light"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6">
            <a:extLst>
              <a:ext uri="{FF2B5EF4-FFF2-40B4-BE49-F238E27FC236}">
                <a16:creationId xmlns:a16="http://schemas.microsoft.com/office/drawing/2014/main" id="{FFADCD80-235B-4353-A233-CF7E4990F208}"/>
              </a:ext>
            </a:extLst>
          </p:cNvPr>
          <p:cNvSpPr>
            <a:spLocks noGrp="1"/>
          </p:cNvSpPr>
          <p:nvPr>
            <p:ph type="ftr" sz="quarter" idx="13"/>
          </p:nvPr>
        </p:nvSpPr>
        <p:spPr>
          <a:xfrm>
            <a:off x="643467" y="6284384"/>
            <a:ext cx="8595784" cy="404283"/>
          </a:xfrm>
        </p:spPr>
        <p:txBody>
          <a:bodyPr/>
          <a:lstStyle>
            <a:lvl1pPr>
              <a:defRPr sz="933"/>
            </a:lvl1pPr>
          </a:lstStyle>
          <a:p>
            <a:pPr>
              <a:defRPr/>
            </a:pPr>
            <a:r>
              <a:rPr lang="en-GB" altLang="en-US" dirty="0"/>
              <a:t>Document Title | BUSINESS UNIT(S) | OFFICIAL – SENSITIVE: SNI | SUBJECT TO EXPORT CONTROL | LEGALLY PRIVILEGED | PROTECT – PRIVATE | PROTECT – COMMERCIAL &amp; CONTRACTS | NOT PROTECTIVELY MARKED | © 2020 EDF Energy Ltd. All rights Reserved.</a:t>
            </a:r>
          </a:p>
        </p:txBody>
      </p:sp>
      <p:sp>
        <p:nvSpPr>
          <p:cNvPr id="5" name="Slide Number Placeholder 7">
            <a:extLst>
              <a:ext uri="{FF2B5EF4-FFF2-40B4-BE49-F238E27FC236}">
                <a16:creationId xmlns:a16="http://schemas.microsoft.com/office/drawing/2014/main" id="{2FAC165D-9E06-4EAD-81B8-BBA4EC3602C5}"/>
              </a:ext>
            </a:extLst>
          </p:cNvPr>
          <p:cNvSpPr>
            <a:spLocks noGrp="1"/>
          </p:cNvSpPr>
          <p:nvPr>
            <p:ph type="sldNum" sz="quarter" idx="14"/>
          </p:nvPr>
        </p:nvSpPr>
        <p:spPr>
          <a:xfrm>
            <a:off x="67734" y="6284384"/>
            <a:ext cx="575733" cy="404283"/>
          </a:xfrm>
        </p:spPr>
        <p:txBody>
          <a:bodyPr/>
          <a:lstStyle>
            <a:lvl1pPr>
              <a:defRPr/>
            </a:lvl1pPr>
          </a:lstStyle>
          <a:p>
            <a:pPr>
              <a:defRPr/>
            </a:pPr>
            <a:fld id="{818067C1-B8D2-4E51-8E9F-D1FB64A7196B}" type="slidenum">
              <a:rPr lang="en-GB" altLang="en-US"/>
              <a:pPr>
                <a:defRPr/>
              </a:pPr>
              <a:t>‹#›</a:t>
            </a:fld>
            <a:endParaRPr lang="en-GB" altLang="en-US" dirty="0"/>
          </a:p>
        </p:txBody>
      </p:sp>
    </p:spTree>
    <p:extLst>
      <p:ext uri="{BB962C8B-B14F-4D97-AF65-F5344CB8AC3E}">
        <p14:creationId xmlns:p14="http://schemas.microsoft.com/office/powerpoint/2010/main" val="321324160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Numbers and Bullets">
    <p:spTree>
      <p:nvGrpSpPr>
        <p:cNvPr id="1" name=""/>
        <p:cNvGrpSpPr/>
        <p:nvPr/>
      </p:nvGrpSpPr>
      <p:grpSpPr>
        <a:xfrm>
          <a:off x="0" y="0"/>
          <a:ext cx="0" cy="0"/>
          <a:chOff x="0" y="0"/>
          <a:chExt cx="0" cy="0"/>
        </a:xfrm>
      </p:grpSpPr>
      <p:sp>
        <p:nvSpPr>
          <p:cNvPr id="11" name="Title 10"/>
          <p:cNvSpPr>
            <a:spLocks noGrp="1"/>
          </p:cNvSpPr>
          <p:nvPr>
            <p:ph type="title"/>
          </p:nvPr>
        </p:nvSpPr>
        <p:spPr>
          <a:xfrm>
            <a:off x="1359161" y="424801"/>
            <a:ext cx="10430941" cy="867105"/>
          </a:xfrm>
        </p:spPr>
        <p:txBody>
          <a:bodyPr/>
          <a:lstStyle/>
          <a:p>
            <a:r>
              <a:rPr lang="en-US"/>
              <a:t>Click to edit Master title style</a:t>
            </a:r>
            <a:endParaRPr lang="en-GB" dirty="0"/>
          </a:p>
        </p:txBody>
      </p:sp>
      <p:sp>
        <p:nvSpPr>
          <p:cNvPr id="4" name="Content Placeholder 3"/>
          <p:cNvSpPr>
            <a:spLocks noGrp="1"/>
          </p:cNvSpPr>
          <p:nvPr>
            <p:ph sz="quarter" idx="12"/>
          </p:nvPr>
        </p:nvSpPr>
        <p:spPr>
          <a:xfrm>
            <a:off x="1358901" y="1268412"/>
            <a:ext cx="10441279" cy="4392000"/>
          </a:xfrm>
        </p:spPr>
        <p:txBody>
          <a:bodyPr>
            <a:normAutofit/>
          </a:bodyPr>
          <a:lstStyle>
            <a:lvl1pPr marL="455989" indent="-455989">
              <a:buFont typeface="+mj-lt"/>
              <a:buAutoNum type="arabicPeriod"/>
              <a:defRPr sz="2667"/>
            </a:lvl1pPr>
            <a:lvl2pPr marL="921577" indent="-446389">
              <a:defRPr lang="en-US" sz="2667" kern="1200" dirty="0" smtClean="0">
                <a:solidFill>
                  <a:schemeClr val="tx1"/>
                </a:solidFill>
                <a:latin typeface="Frutiger LT 45 Light" pitchFamily="34" charset="0"/>
                <a:ea typeface="+mn-ea"/>
                <a:cs typeface="+mn-cs"/>
              </a:defRPr>
            </a:lvl2pPr>
            <a:lvl3pPr marL="1377566" indent="-455989">
              <a:defRPr lang="en-US" sz="2667" kern="1200" dirty="0" smtClean="0">
                <a:solidFill>
                  <a:schemeClr val="tx1"/>
                </a:solidFill>
                <a:latin typeface="Frutiger LT 45 Light" pitchFamily="34" charset="0"/>
                <a:ea typeface="+mn-ea"/>
                <a:cs typeface="+mn-cs"/>
              </a:defRPr>
            </a:lvl3pPr>
            <a:lvl4pPr marL="1847954" indent="-446389">
              <a:defRPr lang="en-US" sz="2667" kern="1200" dirty="0" smtClean="0">
                <a:solidFill>
                  <a:schemeClr val="tx1"/>
                </a:solidFill>
                <a:latin typeface="Frutiger LT 45 Light" pitchFamily="34" charset="0"/>
                <a:ea typeface="+mn-ea"/>
                <a:cs typeface="+mn-cs"/>
              </a:defRPr>
            </a:lvl4pPr>
            <a:lvl5pPr marL="2366341" indent="-513587">
              <a:defRPr lang="en-GB" sz="2667" kern="1200" dirty="0">
                <a:solidFill>
                  <a:schemeClr val="tx1"/>
                </a:solidFill>
                <a:latin typeface="Frutiger LT 45 Light"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6">
            <a:extLst>
              <a:ext uri="{FF2B5EF4-FFF2-40B4-BE49-F238E27FC236}">
                <a16:creationId xmlns:a16="http://schemas.microsoft.com/office/drawing/2014/main" id="{05ED58AE-8CE8-42A3-AB1D-EFE22EBDF361}"/>
              </a:ext>
            </a:extLst>
          </p:cNvPr>
          <p:cNvSpPr>
            <a:spLocks noGrp="1"/>
          </p:cNvSpPr>
          <p:nvPr>
            <p:ph type="ftr" sz="quarter" idx="13"/>
          </p:nvPr>
        </p:nvSpPr>
        <p:spPr>
          <a:xfrm>
            <a:off x="643467" y="6284384"/>
            <a:ext cx="8595784" cy="404283"/>
          </a:xfrm>
        </p:spPr>
        <p:txBody>
          <a:bodyPr/>
          <a:lstStyle>
            <a:lvl1pPr>
              <a:defRPr sz="933"/>
            </a:lvl1pPr>
          </a:lstStyle>
          <a:p>
            <a:pPr>
              <a:defRPr/>
            </a:pPr>
            <a:r>
              <a:rPr lang="en-GB" altLang="en-US" dirty="0"/>
              <a:t>Document Title | BUSINESS UNIT(S) | OFFICIAL – SENSITIVE: SNI | SUBJECT TO EXPORT CONTROL | LEGALLY PRIVILEGED | PROTECT – PRIVATE | PROTECT – COMMERCIAL &amp; CONTRACTS | NOT PROTECTIVELY MARKED | © 2020 EDF Energy Ltd. All rights Reserved.</a:t>
            </a:r>
          </a:p>
        </p:txBody>
      </p:sp>
      <p:sp>
        <p:nvSpPr>
          <p:cNvPr id="6" name="Slide Number Placeholder 7">
            <a:extLst>
              <a:ext uri="{FF2B5EF4-FFF2-40B4-BE49-F238E27FC236}">
                <a16:creationId xmlns:a16="http://schemas.microsoft.com/office/drawing/2014/main" id="{7D12ACDB-7E2E-442B-9DED-E4EBB54FEFE9}"/>
              </a:ext>
            </a:extLst>
          </p:cNvPr>
          <p:cNvSpPr>
            <a:spLocks noGrp="1"/>
          </p:cNvSpPr>
          <p:nvPr>
            <p:ph type="sldNum" sz="quarter" idx="14"/>
          </p:nvPr>
        </p:nvSpPr>
        <p:spPr>
          <a:xfrm>
            <a:off x="67734" y="6284384"/>
            <a:ext cx="575733" cy="404283"/>
          </a:xfrm>
        </p:spPr>
        <p:txBody>
          <a:bodyPr/>
          <a:lstStyle>
            <a:lvl1pPr>
              <a:defRPr/>
            </a:lvl1pPr>
          </a:lstStyle>
          <a:p>
            <a:pPr>
              <a:defRPr/>
            </a:pPr>
            <a:fld id="{A8187E50-F563-44A9-B3B8-DEB9F1C5A6B2}" type="slidenum">
              <a:rPr lang="en-GB" altLang="en-US"/>
              <a:pPr>
                <a:defRPr/>
              </a:pPr>
              <a:t>‹#›</a:t>
            </a:fld>
            <a:endParaRPr lang="en-GB" altLang="en-US" dirty="0"/>
          </a:p>
        </p:txBody>
      </p:sp>
    </p:spTree>
    <p:extLst>
      <p:ext uri="{BB962C8B-B14F-4D97-AF65-F5344CB8AC3E}">
        <p14:creationId xmlns:p14="http://schemas.microsoft.com/office/powerpoint/2010/main" val="265178796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33918" y="424801"/>
            <a:ext cx="11361780" cy="867105"/>
          </a:xfrm>
        </p:spPr>
        <p:txBody>
          <a:bodyPr/>
          <a:lstStyle/>
          <a:p>
            <a:r>
              <a:rPr lang="en-US"/>
              <a:t>Click to edit Master title style</a:t>
            </a:r>
            <a:endParaRPr lang="en-GB" dirty="0"/>
          </a:p>
        </p:txBody>
      </p:sp>
      <p:sp>
        <p:nvSpPr>
          <p:cNvPr id="3" name="Footer Placeholder 6">
            <a:extLst>
              <a:ext uri="{FF2B5EF4-FFF2-40B4-BE49-F238E27FC236}">
                <a16:creationId xmlns:a16="http://schemas.microsoft.com/office/drawing/2014/main" id="{5F20BFE9-5AA2-48D7-8DA2-B2D27F230107}"/>
              </a:ext>
            </a:extLst>
          </p:cNvPr>
          <p:cNvSpPr>
            <a:spLocks noGrp="1"/>
          </p:cNvSpPr>
          <p:nvPr>
            <p:ph type="ftr" sz="quarter" idx="10"/>
          </p:nvPr>
        </p:nvSpPr>
        <p:spPr>
          <a:xfrm>
            <a:off x="643467" y="6284384"/>
            <a:ext cx="8593667" cy="404283"/>
          </a:xfrm>
        </p:spPr>
        <p:txBody>
          <a:bodyPr/>
          <a:lstStyle>
            <a:lvl1pPr>
              <a:defRPr sz="933"/>
            </a:lvl1pPr>
          </a:lstStyle>
          <a:p>
            <a:pPr>
              <a:defRPr/>
            </a:pPr>
            <a:r>
              <a:rPr lang="en-GB" altLang="en-US" dirty="0"/>
              <a:t>Document Title | BUSINESS UNIT(S) | OFFICIAL – SENSITIVE: SNI | SUBJECT TO EXPORT CONTROL | LEGALLY PRIVILEGED | PROTECT – PRIVATE | PROTECT – COMMERCIAL &amp; CONTRACTS | NOT PROTECTIVELY MARKED | © 2020 EDF Energy Ltd. All rights Reserved.</a:t>
            </a:r>
          </a:p>
        </p:txBody>
      </p:sp>
      <p:sp>
        <p:nvSpPr>
          <p:cNvPr id="4" name="Slide Number Placeholder 7">
            <a:extLst>
              <a:ext uri="{FF2B5EF4-FFF2-40B4-BE49-F238E27FC236}">
                <a16:creationId xmlns:a16="http://schemas.microsoft.com/office/drawing/2014/main" id="{D7896720-2EC8-4D2B-8100-733D50016306}"/>
              </a:ext>
            </a:extLst>
          </p:cNvPr>
          <p:cNvSpPr>
            <a:spLocks noGrp="1"/>
          </p:cNvSpPr>
          <p:nvPr>
            <p:ph type="sldNum" sz="quarter" idx="11"/>
          </p:nvPr>
        </p:nvSpPr>
        <p:spPr>
          <a:xfrm>
            <a:off x="67734" y="6284384"/>
            <a:ext cx="575733" cy="404283"/>
          </a:xfrm>
        </p:spPr>
        <p:txBody>
          <a:bodyPr/>
          <a:lstStyle>
            <a:lvl1pPr>
              <a:defRPr/>
            </a:lvl1pPr>
          </a:lstStyle>
          <a:p>
            <a:pPr>
              <a:defRPr/>
            </a:pPr>
            <a:fld id="{E6213EB0-03F0-458F-85D9-4F95BE425A38}" type="slidenum">
              <a:rPr lang="en-GB" altLang="en-US"/>
              <a:pPr>
                <a:defRPr/>
              </a:pPr>
              <a:t>‹#›</a:t>
            </a:fld>
            <a:endParaRPr lang="en-GB" altLang="en-US" dirty="0"/>
          </a:p>
        </p:txBody>
      </p:sp>
    </p:spTree>
    <p:extLst>
      <p:ext uri="{BB962C8B-B14F-4D97-AF65-F5344CB8AC3E}">
        <p14:creationId xmlns:p14="http://schemas.microsoft.com/office/powerpoint/2010/main" val="275603525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Video ">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33918" y="424801"/>
            <a:ext cx="11361780" cy="867105"/>
          </a:xfrm>
        </p:spPr>
        <p:txBody>
          <a:bodyPr/>
          <a:lstStyle>
            <a:lvl1pPr>
              <a:defRPr>
                <a:solidFill>
                  <a:schemeClr val="bg1"/>
                </a:solidFill>
              </a:defRPr>
            </a:lvl1pPr>
          </a:lstStyle>
          <a:p>
            <a:r>
              <a:rPr lang="en-US"/>
              <a:t>Click to edit Master title style</a:t>
            </a:r>
            <a:endParaRPr lang="en-GB" dirty="0"/>
          </a:p>
        </p:txBody>
      </p:sp>
      <p:sp>
        <p:nvSpPr>
          <p:cNvPr id="9" name="Media Placeholder 8"/>
          <p:cNvSpPr>
            <a:spLocks noGrp="1"/>
          </p:cNvSpPr>
          <p:nvPr>
            <p:ph type="media" sz="quarter" idx="10"/>
          </p:nvPr>
        </p:nvSpPr>
        <p:spPr>
          <a:xfrm>
            <a:off x="433918" y="1773239"/>
            <a:ext cx="11326284" cy="4824412"/>
          </a:xfrm>
        </p:spPr>
        <p:txBody>
          <a:bodyPr rtlCol="0">
            <a:normAutofit/>
          </a:bodyPr>
          <a:lstStyle/>
          <a:p>
            <a:pPr lvl="0"/>
            <a:r>
              <a:rPr lang="en-US" noProof="0" dirty="0"/>
              <a:t>Click icon to add media</a:t>
            </a:r>
            <a:endParaRPr lang="en-GB" noProof="0" dirty="0"/>
          </a:p>
        </p:txBody>
      </p:sp>
    </p:spTree>
    <p:extLst>
      <p:ext uri="{BB962C8B-B14F-4D97-AF65-F5344CB8AC3E}">
        <p14:creationId xmlns:p14="http://schemas.microsoft.com/office/powerpoint/2010/main" val="62570997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Thank You Option1">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0854834D-8BE4-434C-B125-600A61852A51}"/>
              </a:ext>
            </a:extLst>
          </p:cNvPr>
          <p:cNvSpPr>
            <a:spLocks noGrp="1"/>
          </p:cNvSpPr>
          <p:nvPr>
            <p:ph type="ftr" sz="quarter" idx="10"/>
          </p:nvPr>
        </p:nvSpPr>
        <p:spPr/>
        <p:txBody>
          <a:bodyPr/>
          <a:lstStyle>
            <a:lvl1pPr>
              <a:defRPr/>
            </a:lvl1pPr>
          </a:lstStyle>
          <a:p>
            <a:pPr>
              <a:defRPr/>
            </a:pPr>
            <a:r>
              <a:rPr lang="en-GB" altLang="en-US" dirty="0"/>
              <a:t>Document Title | BUSINESS UNIT(S) | OFFICIAL – SENSITIVE: SNI | SUBJECT TO EXPORT CONTROL | LEGALLY PRIVILEGED | PROTECT – PRIVATE | PROTECT – COMMERCIAL &amp; CONTRACTS | NOT PROTECTIVELY MARKED | © 2020 EDF Energy Ltd. All rights Reserved.</a:t>
            </a:r>
          </a:p>
        </p:txBody>
      </p:sp>
      <p:sp>
        <p:nvSpPr>
          <p:cNvPr id="3" name="Slide Number Placeholder 5">
            <a:extLst>
              <a:ext uri="{FF2B5EF4-FFF2-40B4-BE49-F238E27FC236}">
                <a16:creationId xmlns:a16="http://schemas.microsoft.com/office/drawing/2014/main" id="{8B53B535-6EC8-46F4-8EAD-B06CA025F6E2}"/>
              </a:ext>
            </a:extLst>
          </p:cNvPr>
          <p:cNvSpPr>
            <a:spLocks noGrp="1"/>
          </p:cNvSpPr>
          <p:nvPr>
            <p:ph type="sldNum" sz="quarter" idx="11"/>
          </p:nvPr>
        </p:nvSpPr>
        <p:spPr>
          <a:xfrm>
            <a:off x="65618" y="6282267"/>
            <a:ext cx="575733" cy="404284"/>
          </a:xfrm>
        </p:spPr>
        <p:txBody>
          <a:bodyPr/>
          <a:lstStyle>
            <a:lvl1pPr>
              <a:defRPr/>
            </a:lvl1pPr>
          </a:lstStyle>
          <a:p>
            <a:pPr>
              <a:defRPr/>
            </a:pPr>
            <a:fld id="{96A7E5C0-62C2-4963-B1C8-14C82F51D65F}" type="slidenum">
              <a:rPr lang="en-GB" altLang="en-US"/>
              <a:pPr>
                <a:defRPr/>
              </a:pPr>
              <a:t>‹#›</a:t>
            </a:fld>
            <a:endParaRPr lang="en-GB" altLang="en-US" dirty="0"/>
          </a:p>
        </p:txBody>
      </p:sp>
    </p:spTree>
    <p:extLst>
      <p:ext uri="{BB962C8B-B14F-4D97-AF65-F5344CB8AC3E}">
        <p14:creationId xmlns:p14="http://schemas.microsoft.com/office/powerpoint/2010/main" val="416176002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Bullets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10"/>
          <p:cNvSpPr>
            <a:spLocks noGrp="1"/>
          </p:cNvSpPr>
          <p:nvPr>
            <p:ph type="title"/>
          </p:nvPr>
        </p:nvSpPr>
        <p:spPr>
          <a:xfrm>
            <a:off x="67200" y="1"/>
            <a:ext cx="12048600" cy="731921"/>
          </a:xfrm>
          <a:prstGeom prst="rect">
            <a:avLst/>
          </a:prstGeom>
        </p:spPr>
        <p:txBody>
          <a:bodyPr>
            <a:normAutofit/>
          </a:bodyPr>
          <a:lstStyle>
            <a:lvl1pPr>
              <a:defRPr sz="3733">
                <a:solidFill>
                  <a:srgbClr val="1057C8"/>
                </a:solidFill>
              </a:defRPr>
            </a:lvl1pPr>
          </a:lstStyle>
          <a:p>
            <a:r>
              <a:rPr lang="en-US" dirty="0"/>
              <a:t>Click to edit Master title style</a:t>
            </a:r>
            <a:endParaRPr lang="en-GB" dirty="0"/>
          </a:p>
        </p:txBody>
      </p:sp>
      <p:sp>
        <p:nvSpPr>
          <p:cNvPr id="12" name="Content Placeholder 3"/>
          <p:cNvSpPr>
            <a:spLocks noGrp="1"/>
          </p:cNvSpPr>
          <p:nvPr>
            <p:ph sz="quarter" idx="12"/>
          </p:nvPr>
        </p:nvSpPr>
        <p:spPr>
          <a:xfrm>
            <a:off x="182035" y="1734079"/>
            <a:ext cx="10441280" cy="4392000"/>
          </a:xfrm>
        </p:spPr>
        <p:txBody>
          <a:bodyPr lIns="72000" tIns="72000" rIns="72000" bIns="72000">
            <a:normAutofit/>
          </a:bodyPr>
          <a:lstStyle>
            <a:lvl1pPr marL="455989" indent="-455989">
              <a:buClr>
                <a:schemeClr val="accent4"/>
              </a:buClr>
              <a:buFont typeface="Arial" panose="020B0604020202020204" pitchFamily="34" charset="0"/>
              <a:buChar char="•"/>
              <a:defRPr sz="2133"/>
            </a:lvl1pPr>
            <a:lvl2pPr marL="921577" indent="-446389">
              <a:buClr>
                <a:schemeClr val="accent4"/>
              </a:buClr>
              <a:buFont typeface="Arial" panose="020B0604020202020204" pitchFamily="34" charset="0"/>
              <a:buChar char="-"/>
              <a:tabLst/>
              <a:defRPr lang="en-US" sz="2133" kern="1200" dirty="0" smtClean="0">
                <a:solidFill>
                  <a:schemeClr val="tx1"/>
                </a:solidFill>
                <a:latin typeface="Frutiger LT 45 Light" pitchFamily="34" charset="0"/>
                <a:ea typeface="+mn-ea"/>
                <a:cs typeface="+mn-cs"/>
              </a:defRPr>
            </a:lvl2pPr>
            <a:lvl3pPr marL="1377566" indent="-455989" defTabSz="1312301">
              <a:buClr>
                <a:schemeClr val="accent4"/>
              </a:buClr>
              <a:defRPr lang="en-US" sz="2133" kern="1200" dirty="0" smtClean="0">
                <a:solidFill>
                  <a:schemeClr val="tx1"/>
                </a:solidFill>
                <a:latin typeface="Frutiger LT 45 Light" pitchFamily="34" charset="0"/>
                <a:ea typeface="+mn-ea"/>
                <a:cs typeface="+mn-cs"/>
              </a:defRPr>
            </a:lvl3pPr>
            <a:lvl4pPr marL="1847954" indent="-446389">
              <a:buClr>
                <a:schemeClr val="accent4"/>
              </a:buClr>
              <a:buFont typeface="Arial" panose="020B0604020202020204" pitchFamily="34" charset="0"/>
              <a:buChar char="-"/>
              <a:tabLst/>
              <a:defRPr lang="en-US" sz="2133" kern="1200" dirty="0" smtClean="0">
                <a:solidFill>
                  <a:schemeClr val="tx1"/>
                </a:solidFill>
                <a:latin typeface="Frutiger LT 45 Light" pitchFamily="34" charset="0"/>
                <a:ea typeface="+mn-ea"/>
                <a:cs typeface="+mn-cs"/>
              </a:defRPr>
            </a:lvl4pPr>
            <a:lvl5pPr marL="2366341" indent="-513587">
              <a:buClr>
                <a:schemeClr val="accent4"/>
              </a:buClr>
              <a:tabLst/>
              <a:defRPr lang="en-GB" sz="2133" kern="1200" dirty="0">
                <a:solidFill>
                  <a:schemeClr val="tx1"/>
                </a:solidFill>
                <a:latin typeface="Frutiger LT 45 Light"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6"/>
          <p:cNvSpPr>
            <a:spLocks noGrp="1"/>
          </p:cNvSpPr>
          <p:nvPr>
            <p:ph type="ftr" sz="quarter" idx="10"/>
          </p:nvPr>
        </p:nvSpPr>
        <p:spPr>
          <a:xfrm>
            <a:off x="643199" y="6285074"/>
            <a:ext cx="8595360" cy="403225"/>
          </a:xfrm>
        </p:spPr>
        <p:txBody>
          <a:bodyPr/>
          <a:lstStyle>
            <a:lvl1pPr>
              <a:defRPr sz="933"/>
            </a:lvl1pPr>
          </a:lstStyle>
          <a:p>
            <a:r>
              <a:rPr lang="en-GB" altLang="en-US" dirty="0"/>
              <a:t>SAM I&amp;C Fixed Price Product Strategy | PROTECT – PRIVATE | © 2021 EDF Energy Ltd. All rights Reserved.</a:t>
            </a:r>
          </a:p>
        </p:txBody>
      </p:sp>
      <p:sp>
        <p:nvSpPr>
          <p:cNvPr id="7" name="Slide Number Placeholder 7"/>
          <p:cNvSpPr>
            <a:spLocks noGrp="1"/>
          </p:cNvSpPr>
          <p:nvPr>
            <p:ph type="sldNum" sz="quarter" idx="11"/>
          </p:nvPr>
        </p:nvSpPr>
        <p:spPr>
          <a:xfrm>
            <a:off x="67200" y="6285074"/>
            <a:ext cx="575733" cy="403225"/>
          </a:xfrm>
        </p:spPr>
        <p:txBody>
          <a:bodyPr/>
          <a:lstStyle/>
          <a:p>
            <a:fld id="{352D268D-E5DB-4D76-8C43-F544D2039CA0}" type="slidenum">
              <a:rPr lang="en-GB" altLang="en-US" smtClean="0"/>
              <a:pPr/>
              <a:t>‹#›</a:t>
            </a:fld>
            <a:endParaRPr lang="en-GB" altLang="en-US" dirty="0"/>
          </a:p>
        </p:txBody>
      </p:sp>
      <p:sp>
        <p:nvSpPr>
          <p:cNvPr id="3" name="Text Placeholder 2">
            <a:extLst>
              <a:ext uri="{FF2B5EF4-FFF2-40B4-BE49-F238E27FC236}">
                <a16:creationId xmlns:a16="http://schemas.microsoft.com/office/drawing/2014/main" id="{5A25D806-8B22-4AB1-BAEB-A9EA11D8C1FE}"/>
              </a:ext>
            </a:extLst>
          </p:cNvPr>
          <p:cNvSpPr>
            <a:spLocks noGrp="1"/>
          </p:cNvSpPr>
          <p:nvPr>
            <p:ph type="body" sz="quarter" idx="13" hasCustomPrompt="1"/>
          </p:nvPr>
        </p:nvSpPr>
        <p:spPr>
          <a:xfrm>
            <a:off x="-4500" y="752052"/>
            <a:ext cx="12192000" cy="823032"/>
          </a:xfrm>
          <a:solidFill>
            <a:srgbClr val="38C3AB"/>
          </a:solidFill>
        </p:spPr>
        <p:txBody>
          <a:bodyPr lIns="72000" tIns="72000" bIns="72000" anchor="ctr">
            <a:normAutofit/>
          </a:bodyPr>
          <a:lstStyle>
            <a:lvl1pPr marL="0" indent="0">
              <a:buNone/>
              <a:defRPr sz="2133">
                <a:solidFill>
                  <a:schemeClr val="bg1"/>
                </a:solidFill>
              </a:defRPr>
            </a:lvl1pPr>
            <a:lvl2pPr marL="474339" indent="0">
              <a:buNone/>
              <a:defRPr/>
            </a:lvl2pPr>
            <a:lvl3pPr marL="921928" indent="0">
              <a:buNone/>
              <a:defRPr/>
            </a:lvl3pPr>
            <a:lvl4pPr marL="1401416" indent="0">
              <a:buNone/>
              <a:defRPr/>
            </a:lvl4pPr>
            <a:lvl5pPr marL="1854154" indent="0">
              <a:buNone/>
              <a:defRPr/>
            </a:lvl5pPr>
          </a:lstStyle>
          <a:p>
            <a:pPr lvl="0"/>
            <a:r>
              <a:rPr lang="en-GB" dirty="0"/>
              <a:t>Click to add subtitle</a:t>
            </a:r>
          </a:p>
        </p:txBody>
      </p:sp>
    </p:spTree>
    <p:extLst>
      <p:ext uri="{BB962C8B-B14F-4D97-AF65-F5344CB8AC3E}">
        <p14:creationId xmlns:p14="http://schemas.microsoft.com/office/powerpoint/2010/main" val="212986294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ver 1">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BBCE18BB-8A9A-4230-868D-0996713794E9}"/>
              </a:ext>
            </a:extLst>
          </p:cNvPr>
          <p:cNvSpPr>
            <a:spLocks noGrp="1"/>
          </p:cNvSpPr>
          <p:nvPr>
            <p:ph type="pic" sz="quarter" idx="14" hasCustomPrompt="1"/>
          </p:nvPr>
        </p:nvSpPr>
        <p:spPr>
          <a:xfrm>
            <a:off x="0" y="0"/>
            <a:ext cx="12192000" cy="6858000"/>
          </a:xfrm>
          <a:custGeom>
            <a:avLst/>
            <a:gdLst>
              <a:gd name="connsiteX0" fmla="*/ 0 w 9144000"/>
              <a:gd name="connsiteY0" fmla="*/ 0 h 5143500"/>
              <a:gd name="connsiteX1" fmla="*/ 9144000 w 9144000"/>
              <a:gd name="connsiteY1" fmla="*/ 0 h 5143500"/>
              <a:gd name="connsiteX2" fmla="*/ 9144000 w 9144000"/>
              <a:gd name="connsiteY2" fmla="*/ 4345781 h 5143500"/>
              <a:gd name="connsiteX3" fmla="*/ 9143998 w 9144000"/>
              <a:gd name="connsiteY3" fmla="*/ 4345781 h 5143500"/>
              <a:gd name="connsiteX4" fmla="*/ 9143998 w 9144000"/>
              <a:gd name="connsiteY4" fmla="*/ 4344285 h 5143500"/>
              <a:gd name="connsiteX5" fmla="*/ 9095210 w 9144000"/>
              <a:gd name="connsiteY5" fmla="*/ 4326932 h 5143500"/>
              <a:gd name="connsiteX6" fmla="*/ 9047139 w 9144000"/>
              <a:gd name="connsiteY6" fmla="*/ 4310686 h 5143500"/>
              <a:gd name="connsiteX7" fmla="*/ 8999773 w 9144000"/>
              <a:gd name="connsiteY7" fmla="*/ 4295530 h 5143500"/>
              <a:gd name="connsiteX8" fmla="*/ 8953098 w 9144000"/>
              <a:gd name="connsiteY8" fmla="*/ 4281446 h 5143500"/>
              <a:gd name="connsiteX9" fmla="*/ 8907100 w 9144000"/>
              <a:gd name="connsiteY9" fmla="*/ 4268415 h 5143500"/>
              <a:gd name="connsiteX10" fmla="*/ 8861767 w 9144000"/>
              <a:gd name="connsiteY10" fmla="*/ 4256419 h 5143500"/>
              <a:gd name="connsiteX11" fmla="*/ 8817087 w 9144000"/>
              <a:gd name="connsiteY11" fmla="*/ 4245439 h 5143500"/>
              <a:gd name="connsiteX12" fmla="*/ 8773046 w 9144000"/>
              <a:gd name="connsiteY12" fmla="*/ 4235458 h 5143500"/>
              <a:gd name="connsiteX13" fmla="*/ 8729631 w 9144000"/>
              <a:gd name="connsiteY13" fmla="*/ 4226457 h 5143500"/>
              <a:gd name="connsiteX14" fmla="*/ 8686828 w 9144000"/>
              <a:gd name="connsiteY14" fmla="*/ 4218418 h 5143500"/>
              <a:gd name="connsiteX15" fmla="*/ 8644625 w 9144000"/>
              <a:gd name="connsiteY15" fmla="*/ 4211323 h 5143500"/>
              <a:gd name="connsiteX16" fmla="*/ 8603009 w 9144000"/>
              <a:gd name="connsiteY16" fmla="*/ 4205153 h 5143500"/>
              <a:gd name="connsiteX17" fmla="*/ 8582418 w 9144000"/>
              <a:gd name="connsiteY17" fmla="*/ 4202409 h 5143500"/>
              <a:gd name="connsiteX18" fmla="*/ 8561967 w 9144000"/>
              <a:gd name="connsiteY18" fmla="*/ 4199890 h 5143500"/>
              <a:gd name="connsiteX19" fmla="*/ 8541658 w 9144000"/>
              <a:gd name="connsiteY19" fmla="*/ 4197593 h 5143500"/>
              <a:gd name="connsiteX20" fmla="*/ 8521486 w 9144000"/>
              <a:gd name="connsiteY20" fmla="*/ 4195515 h 5143500"/>
              <a:gd name="connsiteX21" fmla="*/ 8501452 w 9144000"/>
              <a:gd name="connsiteY21" fmla="*/ 4193655 h 5143500"/>
              <a:gd name="connsiteX22" fmla="*/ 8481553 w 9144000"/>
              <a:gd name="connsiteY22" fmla="*/ 4192012 h 5143500"/>
              <a:gd name="connsiteX23" fmla="*/ 8461787 w 9144000"/>
              <a:gd name="connsiteY23" fmla="*/ 4190580 h 5143500"/>
              <a:gd name="connsiteX24" fmla="*/ 8442153 w 9144000"/>
              <a:gd name="connsiteY24" fmla="*/ 4189360 h 5143500"/>
              <a:gd name="connsiteX25" fmla="*/ 8422651 w 9144000"/>
              <a:gd name="connsiteY25" fmla="*/ 4188347 h 5143500"/>
              <a:gd name="connsiteX26" fmla="*/ 8403276 w 9144000"/>
              <a:gd name="connsiteY26" fmla="*/ 4187542 h 5143500"/>
              <a:gd name="connsiteX27" fmla="*/ 8384030 w 9144000"/>
              <a:gd name="connsiteY27" fmla="*/ 4186940 h 5143500"/>
              <a:gd name="connsiteX28" fmla="*/ 8364908 w 9144000"/>
              <a:gd name="connsiteY28" fmla="*/ 4186539 h 5143500"/>
              <a:gd name="connsiteX29" fmla="*/ 8345911 w 9144000"/>
              <a:gd name="connsiteY29" fmla="*/ 4186339 h 5143500"/>
              <a:gd name="connsiteX30" fmla="*/ 8327035 w 9144000"/>
              <a:gd name="connsiteY30" fmla="*/ 4186335 h 5143500"/>
              <a:gd name="connsiteX31" fmla="*/ 8308281 w 9144000"/>
              <a:gd name="connsiteY31" fmla="*/ 4186526 h 5143500"/>
              <a:gd name="connsiteX32" fmla="*/ 8289645 w 9144000"/>
              <a:gd name="connsiteY32" fmla="*/ 4186909 h 5143500"/>
              <a:gd name="connsiteX33" fmla="*/ 8271127 w 9144000"/>
              <a:gd name="connsiteY33" fmla="*/ 4187483 h 5143500"/>
              <a:gd name="connsiteX34" fmla="*/ 8252724 w 9144000"/>
              <a:gd name="connsiteY34" fmla="*/ 4188245 h 5143500"/>
              <a:gd name="connsiteX35" fmla="*/ 8234436 w 9144000"/>
              <a:gd name="connsiteY35" fmla="*/ 4189192 h 5143500"/>
              <a:gd name="connsiteX36" fmla="*/ 8216260 w 9144000"/>
              <a:gd name="connsiteY36" fmla="*/ 4190323 h 5143500"/>
              <a:gd name="connsiteX37" fmla="*/ 8198195 w 9144000"/>
              <a:gd name="connsiteY37" fmla="*/ 4191634 h 5143500"/>
              <a:gd name="connsiteX38" fmla="*/ 8180239 w 9144000"/>
              <a:gd name="connsiteY38" fmla="*/ 4193124 h 5143500"/>
              <a:gd name="connsiteX39" fmla="*/ 8162391 w 9144000"/>
              <a:gd name="connsiteY39" fmla="*/ 4194791 h 5143500"/>
              <a:gd name="connsiteX40" fmla="*/ 8144649 w 9144000"/>
              <a:gd name="connsiteY40" fmla="*/ 4196632 h 5143500"/>
              <a:gd name="connsiteX41" fmla="*/ 8127011 w 9144000"/>
              <a:gd name="connsiteY41" fmla="*/ 4198645 h 5143500"/>
              <a:gd name="connsiteX42" fmla="*/ 8109476 w 9144000"/>
              <a:gd name="connsiteY42" fmla="*/ 4200828 h 5143500"/>
              <a:gd name="connsiteX43" fmla="*/ 8092042 w 9144000"/>
              <a:gd name="connsiteY43" fmla="*/ 4203178 h 5143500"/>
              <a:gd name="connsiteX44" fmla="*/ 8074708 w 9144000"/>
              <a:gd name="connsiteY44" fmla="*/ 4205694 h 5143500"/>
              <a:gd name="connsiteX45" fmla="*/ 8057472 w 9144000"/>
              <a:gd name="connsiteY45" fmla="*/ 4208371 h 5143500"/>
              <a:gd name="connsiteX46" fmla="*/ 8040331 w 9144000"/>
              <a:gd name="connsiteY46" fmla="*/ 4211210 h 5143500"/>
              <a:gd name="connsiteX47" fmla="*/ 8006332 w 9144000"/>
              <a:gd name="connsiteY47" fmla="*/ 4217359 h 5143500"/>
              <a:gd name="connsiteX48" fmla="*/ 7972699 w 9144000"/>
              <a:gd name="connsiteY48" fmla="*/ 4224123 h 5143500"/>
              <a:gd name="connsiteX49" fmla="*/ 7922906 w 9144000"/>
              <a:gd name="connsiteY49" fmla="*/ 4235381 h 5143500"/>
              <a:gd name="connsiteX50" fmla="*/ 7890129 w 9144000"/>
              <a:gd name="connsiteY50" fmla="*/ 4243601 h 5143500"/>
              <a:gd name="connsiteX51" fmla="*/ 7857671 w 9144000"/>
              <a:gd name="connsiteY51" fmla="*/ 4252372 h 5143500"/>
              <a:gd name="connsiteX52" fmla="*/ 7825521 w 9144000"/>
              <a:gd name="connsiteY52" fmla="*/ 4261676 h 5143500"/>
              <a:gd name="connsiteX53" fmla="*/ 7793663 w 9144000"/>
              <a:gd name="connsiteY53" fmla="*/ 4271493 h 5143500"/>
              <a:gd name="connsiteX54" fmla="*/ 7762087 w 9144000"/>
              <a:gd name="connsiteY54" fmla="*/ 4281806 h 5143500"/>
              <a:gd name="connsiteX55" fmla="*/ 7730778 w 9144000"/>
              <a:gd name="connsiteY55" fmla="*/ 4292598 h 5143500"/>
              <a:gd name="connsiteX56" fmla="*/ 7699724 w 9144000"/>
              <a:gd name="connsiteY56" fmla="*/ 4303848 h 5143500"/>
              <a:gd name="connsiteX57" fmla="*/ 7668911 w 9144000"/>
              <a:gd name="connsiteY57" fmla="*/ 4315539 h 5143500"/>
              <a:gd name="connsiteX58" fmla="*/ 7638326 w 9144000"/>
              <a:gd name="connsiteY58" fmla="*/ 4327653 h 5143500"/>
              <a:gd name="connsiteX59" fmla="*/ 7607958 w 9144000"/>
              <a:gd name="connsiteY59" fmla="*/ 4340171 h 5143500"/>
              <a:gd name="connsiteX60" fmla="*/ 7577791 w 9144000"/>
              <a:gd name="connsiteY60" fmla="*/ 4353075 h 5143500"/>
              <a:gd name="connsiteX61" fmla="*/ 7547814 w 9144000"/>
              <a:gd name="connsiteY61" fmla="*/ 4366348 h 5143500"/>
              <a:gd name="connsiteX62" fmla="*/ 7518014 w 9144000"/>
              <a:gd name="connsiteY62" fmla="*/ 4379970 h 5143500"/>
              <a:gd name="connsiteX63" fmla="*/ 7473615 w 9144000"/>
              <a:gd name="connsiteY63" fmla="*/ 4401018 h 5143500"/>
              <a:gd name="connsiteX64" fmla="*/ 7429540 w 9144000"/>
              <a:gd name="connsiteY64" fmla="*/ 4422750 h 5143500"/>
              <a:gd name="connsiteX65" fmla="*/ 7385744 w 9144000"/>
              <a:gd name="connsiteY65" fmla="*/ 4445105 h 5143500"/>
              <a:gd name="connsiteX66" fmla="*/ 7342185 w 9144000"/>
              <a:gd name="connsiteY66" fmla="*/ 4468020 h 5143500"/>
              <a:gd name="connsiteX67" fmla="*/ 7284394 w 9144000"/>
              <a:gd name="connsiteY67" fmla="*/ 4499338 h 5143500"/>
              <a:gd name="connsiteX68" fmla="*/ 7198121 w 9144000"/>
              <a:gd name="connsiteY68" fmla="*/ 4547659 h 5143500"/>
              <a:gd name="connsiteX69" fmla="*/ 6982454 w 9144000"/>
              <a:gd name="connsiteY69" fmla="*/ 4672511 h 5143500"/>
              <a:gd name="connsiteX70" fmla="*/ 6821831 w 9144000"/>
              <a:gd name="connsiteY70" fmla="*/ 4764264 h 5143500"/>
              <a:gd name="connsiteX71" fmla="*/ 6747456 w 9144000"/>
              <a:gd name="connsiteY71" fmla="*/ 4805079 h 5143500"/>
              <a:gd name="connsiteX72" fmla="*/ 6687147 w 9144000"/>
              <a:gd name="connsiteY72" fmla="*/ 4837057 h 5143500"/>
              <a:gd name="connsiteX73" fmla="*/ 6641376 w 9144000"/>
              <a:gd name="connsiteY73" fmla="*/ 4860551 h 5143500"/>
              <a:gd name="connsiteX74" fmla="*/ 6595092 w 9144000"/>
              <a:gd name="connsiteY74" fmla="*/ 4883557 h 5143500"/>
              <a:gd name="connsiteX75" fmla="*/ 6548252 w 9144000"/>
              <a:gd name="connsiteY75" fmla="*/ 4906012 h 5143500"/>
              <a:gd name="connsiteX76" fmla="*/ 6500812 w 9144000"/>
              <a:gd name="connsiteY76" fmla="*/ 4927857 h 5143500"/>
              <a:gd name="connsiteX77" fmla="*/ 6468830 w 9144000"/>
              <a:gd name="connsiteY77" fmla="*/ 4942049 h 5143500"/>
              <a:gd name="connsiteX78" fmla="*/ 6436549 w 9144000"/>
              <a:gd name="connsiteY78" fmla="*/ 4955925 h 5143500"/>
              <a:gd name="connsiteX79" fmla="*/ 6403956 w 9144000"/>
              <a:gd name="connsiteY79" fmla="*/ 4969464 h 5143500"/>
              <a:gd name="connsiteX80" fmla="*/ 6371038 w 9144000"/>
              <a:gd name="connsiteY80" fmla="*/ 4982650 h 5143500"/>
              <a:gd name="connsiteX81" fmla="*/ 6337781 w 9144000"/>
              <a:gd name="connsiteY81" fmla="*/ 4995463 h 5143500"/>
              <a:gd name="connsiteX82" fmla="*/ 6304173 w 9144000"/>
              <a:gd name="connsiteY82" fmla="*/ 5007886 h 5143500"/>
              <a:gd name="connsiteX83" fmla="*/ 6270200 w 9144000"/>
              <a:gd name="connsiteY83" fmla="*/ 5019900 h 5143500"/>
              <a:gd name="connsiteX84" fmla="*/ 6235850 w 9144000"/>
              <a:gd name="connsiteY84" fmla="*/ 5031487 h 5143500"/>
              <a:gd name="connsiteX85" fmla="*/ 6201110 w 9144000"/>
              <a:gd name="connsiteY85" fmla="*/ 5042628 h 5143500"/>
              <a:gd name="connsiteX86" fmla="*/ 6165966 w 9144000"/>
              <a:gd name="connsiteY86" fmla="*/ 5053306 h 5143500"/>
              <a:gd name="connsiteX87" fmla="*/ 6130405 w 9144000"/>
              <a:gd name="connsiteY87" fmla="*/ 5063502 h 5143500"/>
              <a:gd name="connsiteX88" fmla="*/ 6094415 w 9144000"/>
              <a:gd name="connsiteY88" fmla="*/ 5073197 h 5143500"/>
              <a:gd name="connsiteX89" fmla="*/ 6057982 w 9144000"/>
              <a:gd name="connsiteY89" fmla="*/ 5082374 h 5143500"/>
              <a:gd name="connsiteX90" fmla="*/ 6021094 w 9144000"/>
              <a:gd name="connsiteY90" fmla="*/ 5091015 h 5143500"/>
              <a:gd name="connsiteX91" fmla="*/ 5983737 w 9144000"/>
              <a:gd name="connsiteY91" fmla="*/ 5099100 h 5143500"/>
              <a:gd name="connsiteX92" fmla="*/ 5945899 w 9144000"/>
              <a:gd name="connsiteY92" fmla="*/ 5106612 h 5143500"/>
              <a:gd name="connsiteX93" fmla="*/ 5907565 w 9144000"/>
              <a:gd name="connsiteY93" fmla="*/ 5113533 h 5143500"/>
              <a:gd name="connsiteX94" fmla="*/ 5868724 w 9144000"/>
              <a:gd name="connsiteY94" fmla="*/ 5119842 h 5143500"/>
              <a:gd name="connsiteX95" fmla="*/ 5829363 w 9144000"/>
              <a:gd name="connsiteY95" fmla="*/ 5125525 h 5143500"/>
              <a:gd name="connsiteX96" fmla="*/ 5789467 w 9144000"/>
              <a:gd name="connsiteY96" fmla="*/ 5130561 h 5143500"/>
              <a:gd name="connsiteX97" fmla="*/ 5749025 w 9144000"/>
              <a:gd name="connsiteY97" fmla="*/ 5134932 h 5143500"/>
              <a:gd name="connsiteX98" fmla="*/ 5708022 w 9144000"/>
              <a:gd name="connsiteY98" fmla="*/ 5138621 h 5143500"/>
              <a:gd name="connsiteX99" fmla="*/ 5666447 w 9144000"/>
              <a:gd name="connsiteY99" fmla="*/ 5141607 h 5143500"/>
              <a:gd name="connsiteX100" fmla="*/ 5631259 w 9144000"/>
              <a:gd name="connsiteY100" fmla="*/ 5143500 h 5143500"/>
              <a:gd name="connsiteX101" fmla="*/ 0 w 9144000"/>
              <a:gd name="connsiteY10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9144000" h="5143500">
                <a:moveTo>
                  <a:pt x="0" y="0"/>
                </a:moveTo>
                <a:lnTo>
                  <a:pt x="9144000" y="0"/>
                </a:lnTo>
                <a:lnTo>
                  <a:pt x="9144000" y="4345781"/>
                </a:lnTo>
                <a:lnTo>
                  <a:pt x="9143998" y="4345781"/>
                </a:lnTo>
                <a:lnTo>
                  <a:pt x="9143998" y="4344285"/>
                </a:lnTo>
                <a:lnTo>
                  <a:pt x="9095210" y="4326932"/>
                </a:lnTo>
                <a:lnTo>
                  <a:pt x="9047139" y="4310686"/>
                </a:lnTo>
                <a:lnTo>
                  <a:pt x="8999773" y="4295530"/>
                </a:lnTo>
                <a:lnTo>
                  <a:pt x="8953098" y="4281446"/>
                </a:lnTo>
                <a:lnTo>
                  <a:pt x="8907100" y="4268415"/>
                </a:lnTo>
                <a:lnTo>
                  <a:pt x="8861767" y="4256419"/>
                </a:lnTo>
                <a:lnTo>
                  <a:pt x="8817087" y="4245439"/>
                </a:lnTo>
                <a:lnTo>
                  <a:pt x="8773046" y="4235458"/>
                </a:lnTo>
                <a:lnTo>
                  <a:pt x="8729631" y="4226457"/>
                </a:lnTo>
                <a:lnTo>
                  <a:pt x="8686828" y="4218418"/>
                </a:lnTo>
                <a:lnTo>
                  <a:pt x="8644625" y="4211323"/>
                </a:lnTo>
                <a:lnTo>
                  <a:pt x="8603009" y="4205153"/>
                </a:lnTo>
                <a:lnTo>
                  <a:pt x="8582418" y="4202409"/>
                </a:lnTo>
                <a:lnTo>
                  <a:pt x="8561967" y="4199890"/>
                </a:lnTo>
                <a:lnTo>
                  <a:pt x="8541658" y="4197593"/>
                </a:lnTo>
                <a:lnTo>
                  <a:pt x="8521486" y="4195515"/>
                </a:lnTo>
                <a:lnTo>
                  <a:pt x="8501452" y="4193655"/>
                </a:lnTo>
                <a:lnTo>
                  <a:pt x="8481553" y="4192012"/>
                </a:lnTo>
                <a:lnTo>
                  <a:pt x="8461787" y="4190580"/>
                </a:lnTo>
                <a:lnTo>
                  <a:pt x="8442153" y="4189360"/>
                </a:lnTo>
                <a:lnTo>
                  <a:pt x="8422651" y="4188347"/>
                </a:lnTo>
                <a:lnTo>
                  <a:pt x="8403276" y="4187542"/>
                </a:lnTo>
                <a:lnTo>
                  <a:pt x="8384030" y="4186940"/>
                </a:lnTo>
                <a:lnTo>
                  <a:pt x="8364908" y="4186539"/>
                </a:lnTo>
                <a:lnTo>
                  <a:pt x="8345911" y="4186339"/>
                </a:lnTo>
                <a:lnTo>
                  <a:pt x="8327035" y="4186335"/>
                </a:lnTo>
                <a:lnTo>
                  <a:pt x="8308281" y="4186526"/>
                </a:lnTo>
                <a:lnTo>
                  <a:pt x="8289645" y="4186909"/>
                </a:lnTo>
                <a:lnTo>
                  <a:pt x="8271127" y="4187483"/>
                </a:lnTo>
                <a:lnTo>
                  <a:pt x="8252724" y="4188245"/>
                </a:lnTo>
                <a:lnTo>
                  <a:pt x="8234436" y="4189192"/>
                </a:lnTo>
                <a:lnTo>
                  <a:pt x="8216260" y="4190323"/>
                </a:lnTo>
                <a:lnTo>
                  <a:pt x="8198195" y="4191634"/>
                </a:lnTo>
                <a:lnTo>
                  <a:pt x="8180239" y="4193124"/>
                </a:lnTo>
                <a:lnTo>
                  <a:pt x="8162391" y="4194791"/>
                </a:lnTo>
                <a:lnTo>
                  <a:pt x="8144649" y="4196632"/>
                </a:lnTo>
                <a:lnTo>
                  <a:pt x="8127011" y="4198645"/>
                </a:lnTo>
                <a:lnTo>
                  <a:pt x="8109476" y="4200828"/>
                </a:lnTo>
                <a:lnTo>
                  <a:pt x="8092042" y="4203178"/>
                </a:lnTo>
                <a:lnTo>
                  <a:pt x="8074708" y="4205694"/>
                </a:lnTo>
                <a:lnTo>
                  <a:pt x="8057472" y="4208371"/>
                </a:lnTo>
                <a:lnTo>
                  <a:pt x="8040331" y="4211210"/>
                </a:lnTo>
                <a:lnTo>
                  <a:pt x="8006332" y="4217359"/>
                </a:lnTo>
                <a:lnTo>
                  <a:pt x="7972699" y="4224123"/>
                </a:lnTo>
                <a:lnTo>
                  <a:pt x="7922906" y="4235381"/>
                </a:lnTo>
                <a:lnTo>
                  <a:pt x="7890129" y="4243601"/>
                </a:lnTo>
                <a:lnTo>
                  <a:pt x="7857671" y="4252372"/>
                </a:lnTo>
                <a:lnTo>
                  <a:pt x="7825521" y="4261676"/>
                </a:lnTo>
                <a:lnTo>
                  <a:pt x="7793663" y="4271493"/>
                </a:lnTo>
                <a:lnTo>
                  <a:pt x="7762087" y="4281806"/>
                </a:lnTo>
                <a:lnTo>
                  <a:pt x="7730778" y="4292598"/>
                </a:lnTo>
                <a:lnTo>
                  <a:pt x="7699724" y="4303848"/>
                </a:lnTo>
                <a:lnTo>
                  <a:pt x="7668911" y="4315539"/>
                </a:lnTo>
                <a:lnTo>
                  <a:pt x="7638326" y="4327653"/>
                </a:lnTo>
                <a:lnTo>
                  <a:pt x="7607958" y="4340171"/>
                </a:lnTo>
                <a:lnTo>
                  <a:pt x="7577791" y="4353075"/>
                </a:lnTo>
                <a:lnTo>
                  <a:pt x="7547814" y="4366348"/>
                </a:lnTo>
                <a:lnTo>
                  <a:pt x="7518014" y="4379970"/>
                </a:lnTo>
                <a:lnTo>
                  <a:pt x="7473615" y="4401018"/>
                </a:lnTo>
                <a:lnTo>
                  <a:pt x="7429540" y="4422750"/>
                </a:lnTo>
                <a:lnTo>
                  <a:pt x="7385744" y="4445105"/>
                </a:lnTo>
                <a:lnTo>
                  <a:pt x="7342185" y="4468020"/>
                </a:lnTo>
                <a:lnTo>
                  <a:pt x="7284394" y="4499338"/>
                </a:lnTo>
                <a:lnTo>
                  <a:pt x="7198121" y="4547659"/>
                </a:lnTo>
                <a:lnTo>
                  <a:pt x="6982454" y="4672511"/>
                </a:lnTo>
                <a:lnTo>
                  <a:pt x="6821831" y="4764264"/>
                </a:lnTo>
                <a:lnTo>
                  <a:pt x="6747456" y="4805079"/>
                </a:lnTo>
                <a:lnTo>
                  <a:pt x="6687147" y="4837057"/>
                </a:lnTo>
                <a:lnTo>
                  <a:pt x="6641376" y="4860551"/>
                </a:lnTo>
                <a:lnTo>
                  <a:pt x="6595092" y="4883557"/>
                </a:lnTo>
                <a:lnTo>
                  <a:pt x="6548252" y="4906012"/>
                </a:lnTo>
                <a:lnTo>
                  <a:pt x="6500812" y="4927857"/>
                </a:lnTo>
                <a:lnTo>
                  <a:pt x="6468830" y="4942049"/>
                </a:lnTo>
                <a:lnTo>
                  <a:pt x="6436549" y="4955925"/>
                </a:lnTo>
                <a:lnTo>
                  <a:pt x="6403956" y="4969464"/>
                </a:lnTo>
                <a:lnTo>
                  <a:pt x="6371038" y="4982650"/>
                </a:lnTo>
                <a:lnTo>
                  <a:pt x="6337781" y="4995463"/>
                </a:lnTo>
                <a:lnTo>
                  <a:pt x="6304173" y="5007886"/>
                </a:lnTo>
                <a:lnTo>
                  <a:pt x="6270200" y="5019900"/>
                </a:lnTo>
                <a:lnTo>
                  <a:pt x="6235850" y="5031487"/>
                </a:lnTo>
                <a:lnTo>
                  <a:pt x="6201110" y="5042628"/>
                </a:lnTo>
                <a:lnTo>
                  <a:pt x="6165966" y="5053306"/>
                </a:lnTo>
                <a:lnTo>
                  <a:pt x="6130405" y="5063502"/>
                </a:lnTo>
                <a:lnTo>
                  <a:pt x="6094415" y="5073197"/>
                </a:lnTo>
                <a:lnTo>
                  <a:pt x="6057982" y="5082374"/>
                </a:lnTo>
                <a:lnTo>
                  <a:pt x="6021094" y="5091015"/>
                </a:lnTo>
                <a:lnTo>
                  <a:pt x="5983737" y="5099100"/>
                </a:lnTo>
                <a:lnTo>
                  <a:pt x="5945899" y="5106612"/>
                </a:lnTo>
                <a:lnTo>
                  <a:pt x="5907565" y="5113533"/>
                </a:lnTo>
                <a:lnTo>
                  <a:pt x="5868724" y="5119842"/>
                </a:lnTo>
                <a:lnTo>
                  <a:pt x="5829363" y="5125525"/>
                </a:lnTo>
                <a:lnTo>
                  <a:pt x="5789467" y="5130561"/>
                </a:lnTo>
                <a:lnTo>
                  <a:pt x="5749025" y="5134932"/>
                </a:lnTo>
                <a:lnTo>
                  <a:pt x="5708022" y="5138621"/>
                </a:lnTo>
                <a:lnTo>
                  <a:pt x="5666447" y="5141607"/>
                </a:lnTo>
                <a:lnTo>
                  <a:pt x="5631259" y="5143500"/>
                </a:lnTo>
                <a:lnTo>
                  <a:pt x="0" y="5143500"/>
                </a:lnTo>
                <a:close/>
              </a:path>
            </a:pathLst>
          </a:custGeom>
          <a:solidFill>
            <a:schemeClr val="accent6"/>
          </a:solidFill>
          <a:ln>
            <a:noFill/>
          </a:ln>
        </p:spPr>
        <p:txBody>
          <a:bodyPr wrap="square" anchor="b">
            <a:noAutofit/>
          </a:bodyPr>
          <a:lstStyle>
            <a:lvl1pPr marL="0" indent="0" algn="ctr">
              <a:buNone/>
              <a:defRPr sz="2183" b="0">
                <a:solidFill>
                  <a:schemeClr val="accent1"/>
                </a:solidFill>
              </a:defRPr>
            </a:lvl1pPr>
          </a:lstStyle>
          <a:p>
            <a:r>
              <a:rPr lang="en-GB" dirty="0"/>
              <a:t>   </a:t>
            </a:r>
          </a:p>
        </p:txBody>
      </p:sp>
      <p:sp>
        <p:nvSpPr>
          <p:cNvPr id="3" name="Text Placeholder 2">
            <a:extLst>
              <a:ext uri="{FF2B5EF4-FFF2-40B4-BE49-F238E27FC236}">
                <a16:creationId xmlns:a16="http://schemas.microsoft.com/office/drawing/2014/main" id="{3A043140-9E20-47E5-ADE6-D31C09457807}"/>
              </a:ext>
            </a:extLst>
          </p:cNvPr>
          <p:cNvSpPr>
            <a:spLocks noGrp="1"/>
          </p:cNvSpPr>
          <p:nvPr>
            <p:ph type="body" sz="quarter" idx="15"/>
          </p:nvPr>
        </p:nvSpPr>
        <p:spPr>
          <a:xfrm>
            <a:off x="431800" y="1416001"/>
            <a:ext cx="7391400" cy="328295"/>
          </a:xfrm>
        </p:spPr>
        <p:txBody>
          <a:bodyPr/>
          <a:lstStyle>
            <a:lvl1pPr>
              <a:defRPr sz="2133" b="0">
                <a:solidFill>
                  <a:schemeClr val="tx1"/>
                </a:solidFill>
              </a:defRPr>
            </a:lvl1pPr>
            <a:lvl2pPr>
              <a:defRPr sz="1940"/>
            </a:lvl2pPr>
            <a:lvl3pPr marL="0" indent="0">
              <a:buNone/>
              <a:defRPr sz="1940"/>
            </a:lvl3pPr>
            <a:lvl4pPr>
              <a:defRPr sz="1940"/>
            </a:lvl4pPr>
            <a:lvl5pPr>
              <a:defRPr sz="1940"/>
            </a:lvl5pPr>
          </a:lstStyle>
          <a:p>
            <a:pPr lvl="0"/>
            <a:r>
              <a:rPr lang="en-US"/>
              <a:t>Edit Master text styles</a:t>
            </a:r>
          </a:p>
        </p:txBody>
      </p:sp>
      <p:sp>
        <p:nvSpPr>
          <p:cNvPr id="6" name="Text Placeholder 2">
            <a:extLst>
              <a:ext uri="{FF2B5EF4-FFF2-40B4-BE49-F238E27FC236}">
                <a16:creationId xmlns:a16="http://schemas.microsoft.com/office/drawing/2014/main" id="{1825EDD5-C8D0-479D-8200-3E2F103CDD2A}"/>
              </a:ext>
            </a:extLst>
          </p:cNvPr>
          <p:cNvSpPr>
            <a:spLocks noGrp="1"/>
          </p:cNvSpPr>
          <p:nvPr>
            <p:ph type="body" sz="quarter" idx="16"/>
          </p:nvPr>
        </p:nvSpPr>
        <p:spPr>
          <a:xfrm>
            <a:off x="431800" y="1791735"/>
            <a:ext cx="7391400" cy="328295"/>
          </a:xfrm>
        </p:spPr>
        <p:txBody>
          <a:bodyPr/>
          <a:lstStyle>
            <a:lvl1pPr>
              <a:defRPr sz="2133" b="0">
                <a:solidFill>
                  <a:schemeClr val="tx1"/>
                </a:solidFill>
              </a:defRPr>
            </a:lvl1pPr>
            <a:lvl2pPr>
              <a:defRPr sz="1940"/>
            </a:lvl2pPr>
            <a:lvl3pPr marL="0" indent="0">
              <a:buNone/>
              <a:defRPr sz="1940"/>
            </a:lvl3pPr>
            <a:lvl4pPr>
              <a:defRPr sz="1940"/>
            </a:lvl4pPr>
            <a:lvl5pPr>
              <a:defRPr sz="1940"/>
            </a:lvl5pPr>
          </a:lstStyle>
          <a:p>
            <a:pPr lvl="0"/>
            <a:r>
              <a:rPr lang="en-US"/>
              <a:t>Edit Master text styles</a:t>
            </a:r>
          </a:p>
        </p:txBody>
      </p:sp>
      <p:sp>
        <p:nvSpPr>
          <p:cNvPr id="9" name="Round Diagonal Corner Rectangle 4">
            <a:extLst>
              <a:ext uri="{FF2B5EF4-FFF2-40B4-BE49-F238E27FC236}">
                <a16:creationId xmlns:a16="http://schemas.microsoft.com/office/drawing/2014/main" id="{98FBF951-2FE8-4B4E-8C56-DDECA1E6F8E1}"/>
              </a:ext>
            </a:extLst>
          </p:cNvPr>
          <p:cNvSpPr/>
          <p:nvPr userDrawn="1"/>
        </p:nvSpPr>
        <p:spPr>
          <a:xfrm>
            <a:off x="12514257" y="-2970"/>
            <a:ext cx="2576459" cy="4130221"/>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48000" tIns="48000" rIns="48000" bIns="48000" rtlCol="0" anchor="t" anchorCtr="0">
            <a:spAutoFit/>
          </a:bodyPr>
          <a:lstStyle/>
          <a:p>
            <a:pPr>
              <a:spcAft>
                <a:spcPts val="136"/>
              </a:spcAft>
            </a:pPr>
            <a:r>
              <a:rPr lang="en-GB" sz="849" b="1" noProof="0" dirty="0">
                <a:solidFill>
                  <a:schemeClr val="bg1">
                    <a:lumMod val="50000"/>
                  </a:schemeClr>
                </a:solidFill>
              </a:rPr>
              <a:t>Image placeholders</a:t>
            </a:r>
          </a:p>
          <a:p>
            <a:pPr marL="0" lvl="1" indent="0">
              <a:spcAft>
                <a:spcPts val="132"/>
              </a:spcAft>
            </a:pPr>
            <a:r>
              <a:rPr lang="en-GB" sz="849" noProof="0" dirty="0">
                <a:solidFill>
                  <a:schemeClr val="bg1">
                    <a:lumMod val="50000"/>
                  </a:schemeClr>
                </a:solidFill>
              </a:rPr>
              <a:t>This layout is set with a picture placeholder. The front cover image should always be in the cut out style or a plain yellow background</a:t>
            </a:r>
          </a:p>
          <a:p>
            <a:pPr marL="0" lvl="1" indent="0">
              <a:spcAft>
                <a:spcPts val="132"/>
              </a:spcAft>
            </a:pPr>
            <a:r>
              <a:rPr lang="en-GB" sz="849" b="1" noProof="0" dirty="0">
                <a:solidFill>
                  <a:schemeClr val="bg1">
                    <a:lumMod val="50000"/>
                  </a:schemeClr>
                </a:solidFill>
              </a:rPr>
              <a:t>Chang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Click on th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delet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Go to the Image Library</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image and ‘insert’</a:t>
            </a:r>
          </a:p>
          <a:p>
            <a:pPr marL="0" lvl="2" indent="0">
              <a:spcAft>
                <a:spcPts val="132"/>
              </a:spcAft>
              <a:buFontTx/>
              <a:buNone/>
            </a:pPr>
            <a:r>
              <a:rPr lang="en-GB" sz="849" noProof="0" dirty="0">
                <a:solidFill>
                  <a:schemeClr val="bg1">
                    <a:lumMod val="50000"/>
                  </a:schemeClr>
                </a:solidFill>
              </a:rPr>
              <a:t>When you have reset the slide the image may need readjusting</a:t>
            </a:r>
          </a:p>
          <a:p>
            <a:pPr marL="0" lvl="1" indent="0">
              <a:spcAft>
                <a:spcPts val="132"/>
              </a:spcAft>
            </a:pPr>
            <a:r>
              <a:rPr lang="en-GB" sz="849" b="1" noProof="0" dirty="0">
                <a:solidFill>
                  <a:schemeClr val="bg1">
                    <a:lumMod val="50000"/>
                  </a:schemeClr>
                </a:solidFill>
              </a:rPr>
              <a:t>Insert image</a:t>
            </a:r>
          </a:p>
          <a:p>
            <a:pPr marL="0" lvl="1" indent="0">
              <a:spcAft>
                <a:spcPts val="132"/>
              </a:spcAft>
            </a:pPr>
            <a:r>
              <a:rPr lang="en-GB" sz="849" noProof="0" dirty="0">
                <a:solidFill>
                  <a:schemeClr val="bg1">
                    <a:lumMod val="50000"/>
                  </a:schemeClr>
                </a:solidFill>
              </a:rPr>
              <a:t>To insert an image click on the ‘picture placeholder icon’, navigate to the file and insert.</a:t>
            </a:r>
          </a:p>
          <a:p>
            <a:pPr>
              <a:spcAft>
                <a:spcPts val="132"/>
              </a:spcAft>
            </a:pPr>
            <a:r>
              <a:rPr lang="en-GB" sz="849" b="1" noProof="0" dirty="0">
                <a:solidFill>
                  <a:schemeClr val="bg1">
                    <a:lumMod val="50000"/>
                  </a:schemeClr>
                </a:solidFill>
              </a:rPr>
              <a:t>Crop image</a:t>
            </a:r>
          </a:p>
          <a:p>
            <a:pPr marL="0" lvl="1" indent="0">
              <a:spcAft>
                <a:spcPts val="132"/>
              </a:spcAft>
            </a:pPr>
            <a:r>
              <a:rPr lang="en-GB" sz="849" noProof="0" dirty="0">
                <a:solidFill>
                  <a:schemeClr val="bg1">
                    <a:lumMod val="50000"/>
                  </a:schemeClr>
                </a:solidFill>
              </a:rPr>
              <a:t>When the image is inserted it may not automatically show the part of the image you want. To change what is shown:</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th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Go to ‘Format’ tab</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Crop’</a:t>
            </a:r>
          </a:p>
          <a:p>
            <a:pPr marL="0" indent="0">
              <a:spcAft>
                <a:spcPts val="136"/>
              </a:spcAft>
              <a:buFont typeface="Arial" pitchFamily="34" charset="0"/>
              <a:buNone/>
            </a:pPr>
            <a:r>
              <a:rPr lang="en-GB" sz="849" b="1" noProof="0" dirty="0">
                <a:solidFill>
                  <a:schemeClr val="bg1">
                    <a:lumMod val="50000"/>
                  </a:schemeClr>
                </a:solidFill>
              </a:rPr>
              <a:t>Image library</a:t>
            </a:r>
          </a:p>
          <a:p>
            <a:pPr marL="0" indent="0" algn="l" defTabSz="316779" rtl="0" fontAlgn="base">
              <a:spcBef>
                <a:spcPct val="0"/>
              </a:spcBef>
              <a:spcAft>
                <a:spcPts val="136"/>
              </a:spcAft>
              <a:buFont typeface="Arial" pitchFamily="34" charset="0"/>
              <a:buNone/>
            </a:pPr>
            <a:r>
              <a:rPr lang="en-GB" sz="849" kern="1200" noProof="0" dirty="0">
                <a:solidFill>
                  <a:schemeClr val="bg1">
                    <a:lumMod val="50000"/>
                  </a:schemeClr>
                </a:solidFill>
                <a:latin typeface="+mn-lt"/>
                <a:ea typeface="+mn-ea"/>
                <a:cs typeface="+mn-cs"/>
              </a:rPr>
              <a:t>To access the image library, please log into</a:t>
            </a:r>
          </a:p>
          <a:p>
            <a:pPr marL="0" indent="0" algn="l" defTabSz="316779" rtl="0" fontAlgn="base">
              <a:spcBef>
                <a:spcPct val="0"/>
              </a:spcBef>
              <a:spcAft>
                <a:spcPts val="136"/>
              </a:spcAft>
              <a:buFont typeface="Arial" pitchFamily="34" charset="0"/>
              <a:buNone/>
            </a:pPr>
            <a:endParaRPr lang="en-GB" sz="849" kern="1200" noProof="0" dirty="0">
              <a:solidFill>
                <a:schemeClr val="bg1">
                  <a:lumMod val="50000"/>
                </a:schemeClr>
              </a:solidFill>
              <a:latin typeface="+mn-lt"/>
              <a:ea typeface="+mn-ea"/>
              <a:cs typeface="+mn-cs"/>
            </a:endParaRPr>
          </a:p>
          <a:p>
            <a:pPr>
              <a:spcAft>
                <a:spcPts val="136"/>
              </a:spcAft>
            </a:pPr>
            <a:endParaRPr lang="en-GB" sz="849" kern="1200" noProof="0" dirty="0">
              <a:solidFill>
                <a:schemeClr val="bg1">
                  <a:lumMod val="50000"/>
                </a:schemeClr>
              </a:solidFill>
              <a:latin typeface="+mn-lt"/>
              <a:ea typeface="+mn-ea"/>
              <a:cs typeface="+mn-cs"/>
            </a:endParaRPr>
          </a:p>
          <a:p>
            <a:pPr>
              <a:spcAft>
                <a:spcPts val="136"/>
              </a:spcAft>
            </a:pPr>
            <a:r>
              <a:rPr lang="en-GB" sz="849" kern="1200" noProof="0" dirty="0">
                <a:solidFill>
                  <a:schemeClr val="bg1">
                    <a:lumMod val="50000"/>
                  </a:schemeClr>
                </a:solidFill>
                <a:latin typeface="+mn-lt"/>
                <a:ea typeface="+mn-ea"/>
                <a:cs typeface="+mn-cs"/>
              </a:rPr>
              <a:t>When you have placed your image you may need to change the colour of the text so it can be seen against the image. This can be changed to dark grey or white.</a:t>
            </a:r>
          </a:p>
        </p:txBody>
      </p:sp>
      <p:sp>
        <p:nvSpPr>
          <p:cNvPr id="7" name="Rectangle 6">
            <a:hlinkClick r:id="rId2"/>
            <a:extLst>
              <a:ext uri="{FF2B5EF4-FFF2-40B4-BE49-F238E27FC236}">
                <a16:creationId xmlns:a16="http://schemas.microsoft.com/office/drawing/2014/main" id="{0A0E5D64-357E-499F-BEC7-89044AF12844}"/>
              </a:ext>
            </a:extLst>
          </p:cNvPr>
          <p:cNvSpPr/>
          <p:nvPr userDrawn="1"/>
        </p:nvSpPr>
        <p:spPr>
          <a:xfrm>
            <a:off x="12558954" y="3394312"/>
            <a:ext cx="2336116" cy="130677"/>
          </a:xfrm>
          <a:prstGeom prst="rect">
            <a:avLst/>
          </a:prstGeom>
          <a:noFill/>
        </p:spPr>
        <p:txBody>
          <a:bodyPr wrap="square" lIns="0" tIns="0" rIns="0" bIns="0" rtlCol="0" anchor="ctr">
            <a:spAutoFit/>
          </a:bodyPr>
          <a:lstStyle/>
          <a:p>
            <a:r>
              <a:rPr lang="en-GB" sz="849" dirty="0">
                <a:cs typeface="Arial" panose="020B0604020202020204" pitchFamily="34" charset="0"/>
              </a:rPr>
              <a:t>https://nationalgrid.onbrandcloud.com/login/</a:t>
            </a:r>
          </a:p>
        </p:txBody>
      </p:sp>
      <p:pic>
        <p:nvPicPr>
          <p:cNvPr id="13" name="Picture 12">
            <a:extLst>
              <a:ext uri="{FF2B5EF4-FFF2-40B4-BE49-F238E27FC236}">
                <a16:creationId xmlns:a16="http://schemas.microsoft.com/office/drawing/2014/main" id="{DC0E0B6B-9082-4BDB-A555-BA6DEB512DD5}"/>
              </a:ext>
            </a:extLst>
          </p:cNvPr>
          <p:cNvPicPr>
            <a:picLocks noChangeAspect="1"/>
          </p:cNvPicPr>
          <p:nvPr userDrawn="1"/>
        </p:nvPicPr>
        <p:blipFill>
          <a:blip r:embed="rId3"/>
          <a:stretch>
            <a:fillRect/>
          </a:stretch>
        </p:blipFill>
        <p:spPr>
          <a:xfrm>
            <a:off x="9965223" y="6237768"/>
            <a:ext cx="1794176" cy="268024"/>
          </a:xfrm>
          <a:prstGeom prst="rect">
            <a:avLst/>
          </a:prstGeom>
        </p:spPr>
      </p:pic>
      <p:sp>
        <p:nvSpPr>
          <p:cNvPr id="4" name="Title 3">
            <a:extLst>
              <a:ext uri="{FF2B5EF4-FFF2-40B4-BE49-F238E27FC236}">
                <a16:creationId xmlns:a16="http://schemas.microsoft.com/office/drawing/2014/main" id="{85FE02F7-EA91-42A2-AC0B-ADF0B456DEC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Tree>
    <p:extLst>
      <p:ext uri="{BB962C8B-B14F-4D97-AF65-F5344CB8AC3E}">
        <p14:creationId xmlns:p14="http://schemas.microsoft.com/office/powerpoint/2010/main" val="420740714"/>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Key message lef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CD4D86A5-6CC8-471F-8BD3-04C9F0CDCDD9}"/>
              </a:ext>
            </a:extLst>
          </p:cNvPr>
          <p:cNvSpPr>
            <a:spLocks noGrp="1"/>
          </p:cNvSpPr>
          <p:nvPr>
            <p:ph type="pic" sz="quarter" idx="16" hasCustomPrompt="1"/>
          </p:nvPr>
        </p:nvSpPr>
        <p:spPr>
          <a:xfrm>
            <a:off x="2706879" y="0"/>
            <a:ext cx="9485121" cy="6857037"/>
          </a:xfrm>
          <a:custGeom>
            <a:avLst/>
            <a:gdLst>
              <a:gd name="connsiteX0" fmla="*/ 925004 w 7113841"/>
              <a:gd name="connsiteY0" fmla="*/ 0 h 5142778"/>
              <a:gd name="connsiteX1" fmla="*/ 7113841 w 7113841"/>
              <a:gd name="connsiteY1" fmla="*/ 0 h 5142778"/>
              <a:gd name="connsiteX2" fmla="*/ 7113841 w 7113841"/>
              <a:gd name="connsiteY2" fmla="*/ 4345781 h 5142778"/>
              <a:gd name="connsiteX3" fmla="*/ 7113839 w 7113841"/>
              <a:gd name="connsiteY3" fmla="*/ 4345781 h 5142778"/>
              <a:gd name="connsiteX4" fmla="*/ 7113839 w 7113841"/>
              <a:gd name="connsiteY4" fmla="*/ 4344165 h 5142778"/>
              <a:gd name="connsiteX5" fmla="*/ 7065051 w 7113841"/>
              <a:gd name="connsiteY5" fmla="*/ 4326824 h 5142778"/>
              <a:gd name="connsiteX6" fmla="*/ 7016980 w 7113841"/>
              <a:gd name="connsiteY6" fmla="*/ 4310591 h 5142778"/>
              <a:gd name="connsiteX7" fmla="*/ 6969613 w 7113841"/>
              <a:gd name="connsiteY7" fmla="*/ 4295447 h 5142778"/>
              <a:gd name="connsiteX8" fmla="*/ 6922939 w 7113841"/>
              <a:gd name="connsiteY8" fmla="*/ 4281374 h 5142778"/>
              <a:gd name="connsiteX9" fmla="*/ 6876941 w 7113841"/>
              <a:gd name="connsiteY9" fmla="*/ 4268353 h 5142778"/>
              <a:gd name="connsiteX10" fmla="*/ 6831609 w 7113841"/>
              <a:gd name="connsiteY10" fmla="*/ 4256365 h 5142778"/>
              <a:gd name="connsiteX11" fmla="*/ 6786928 w 7113841"/>
              <a:gd name="connsiteY11" fmla="*/ 4245394 h 5142778"/>
              <a:gd name="connsiteX12" fmla="*/ 6742887 w 7113841"/>
              <a:gd name="connsiteY12" fmla="*/ 4235421 h 5142778"/>
              <a:gd name="connsiteX13" fmla="*/ 6699472 w 7113841"/>
              <a:gd name="connsiteY13" fmla="*/ 4226427 h 5142778"/>
              <a:gd name="connsiteX14" fmla="*/ 6656669 w 7113841"/>
              <a:gd name="connsiteY14" fmla="*/ 4218394 h 5142778"/>
              <a:gd name="connsiteX15" fmla="*/ 6614465 w 7113841"/>
              <a:gd name="connsiteY15" fmla="*/ 4211304 h 5142778"/>
              <a:gd name="connsiteX16" fmla="*/ 6572851 w 7113841"/>
              <a:gd name="connsiteY16" fmla="*/ 4205138 h 5142778"/>
              <a:gd name="connsiteX17" fmla="*/ 6552259 w 7113841"/>
              <a:gd name="connsiteY17" fmla="*/ 4202397 h 5142778"/>
              <a:gd name="connsiteX18" fmla="*/ 6531808 w 7113841"/>
              <a:gd name="connsiteY18" fmla="*/ 4199880 h 5142778"/>
              <a:gd name="connsiteX19" fmla="*/ 6511499 w 7113841"/>
              <a:gd name="connsiteY19" fmla="*/ 4197584 h 5142778"/>
              <a:gd name="connsiteX20" fmla="*/ 6491327 w 7113841"/>
              <a:gd name="connsiteY20" fmla="*/ 4195509 h 5142778"/>
              <a:gd name="connsiteX21" fmla="*/ 6471293 w 7113841"/>
              <a:gd name="connsiteY21" fmla="*/ 4193650 h 5142778"/>
              <a:gd name="connsiteX22" fmla="*/ 6451393 w 7113841"/>
              <a:gd name="connsiteY22" fmla="*/ 4192007 h 5142778"/>
              <a:gd name="connsiteX23" fmla="*/ 6431629 w 7113841"/>
              <a:gd name="connsiteY23" fmla="*/ 4190577 h 5142778"/>
              <a:gd name="connsiteX24" fmla="*/ 6411994 w 7113841"/>
              <a:gd name="connsiteY24" fmla="*/ 4189358 h 5142778"/>
              <a:gd name="connsiteX25" fmla="*/ 6392492 w 7113841"/>
              <a:gd name="connsiteY25" fmla="*/ 4188346 h 5142778"/>
              <a:gd name="connsiteX26" fmla="*/ 6373117 w 7113841"/>
              <a:gd name="connsiteY26" fmla="*/ 4187541 h 5142778"/>
              <a:gd name="connsiteX27" fmla="*/ 6353871 w 7113841"/>
              <a:gd name="connsiteY27" fmla="*/ 4186940 h 5142778"/>
              <a:gd name="connsiteX28" fmla="*/ 6334749 w 7113841"/>
              <a:gd name="connsiteY28" fmla="*/ 4186540 h 5142778"/>
              <a:gd name="connsiteX29" fmla="*/ 6315752 w 7113841"/>
              <a:gd name="connsiteY29" fmla="*/ 4186339 h 5142778"/>
              <a:gd name="connsiteX30" fmla="*/ 6296876 w 7113841"/>
              <a:gd name="connsiteY30" fmla="*/ 4186336 h 5142778"/>
              <a:gd name="connsiteX31" fmla="*/ 6278122 w 7113841"/>
              <a:gd name="connsiteY31" fmla="*/ 4186526 h 5142778"/>
              <a:gd name="connsiteX32" fmla="*/ 6259485 w 7113841"/>
              <a:gd name="connsiteY32" fmla="*/ 4186909 h 5142778"/>
              <a:gd name="connsiteX33" fmla="*/ 6240968 w 7113841"/>
              <a:gd name="connsiteY33" fmla="*/ 4187483 h 5142778"/>
              <a:gd name="connsiteX34" fmla="*/ 6222565 w 7113841"/>
              <a:gd name="connsiteY34" fmla="*/ 4188243 h 5142778"/>
              <a:gd name="connsiteX35" fmla="*/ 6204277 w 7113841"/>
              <a:gd name="connsiteY35" fmla="*/ 4189190 h 5142778"/>
              <a:gd name="connsiteX36" fmla="*/ 6186101 w 7113841"/>
              <a:gd name="connsiteY36" fmla="*/ 4190320 h 5142778"/>
              <a:gd name="connsiteX37" fmla="*/ 6168036 w 7113841"/>
              <a:gd name="connsiteY37" fmla="*/ 4191630 h 5142778"/>
              <a:gd name="connsiteX38" fmla="*/ 6150080 w 7113841"/>
              <a:gd name="connsiteY38" fmla="*/ 4193119 h 5142778"/>
              <a:gd name="connsiteX39" fmla="*/ 6132232 w 7113841"/>
              <a:gd name="connsiteY39" fmla="*/ 4194785 h 5142778"/>
              <a:gd name="connsiteX40" fmla="*/ 6114490 w 7113841"/>
              <a:gd name="connsiteY40" fmla="*/ 4196625 h 5142778"/>
              <a:gd name="connsiteX41" fmla="*/ 6096852 w 7113841"/>
              <a:gd name="connsiteY41" fmla="*/ 4198636 h 5142778"/>
              <a:gd name="connsiteX42" fmla="*/ 6079317 w 7113841"/>
              <a:gd name="connsiteY42" fmla="*/ 4200817 h 5142778"/>
              <a:gd name="connsiteX43" fmla="*/ 6061883 w 7113841"/>
              <a:gd name="connsiteY43" fmla="*/ 4203166 h 5142778"/>
              <a:gd name="connsiteX44" fmla="*/ 6044549 w 7113841"/>
              <a:gd name="connsiteY44" fmla="*/ 4205679 h 5142778"/>
              <a:gd name="connsiteX45" fmla="*/ 6027313 w 7113841"/>
              <a:gd name="connsiteY45" fmla="*/ 4208355 h 5142778"/>
              <a:gd name="connsiteX46" fmla="*/ 6010172 w 7113841"/>
              <a:gd name="connsiteY46" fmla="*/ 4211191 h 5142778"/>
              <a:gd name="connsiteX47" fmla="*/ 5976173 w 7113841"/>
              <a:gd name="connsiteY47" fmla="*/ 4217335 h 5142778"/>
              <a:gd name="connsiteX48" fmla="*/ 5942540 w 7113841"/>
              <a:gd name="connsiteY48" fmla="*/ 4224094 h 5142778"/>
              <a:gd name="connsiteX49" fmla="*/ 5892747 w 7113841"/>
              <a:gd name="connsiteY49" fmla="*/ 4235344 h 5142778"/>
              <a:gd name="connsiteX50" fmla="*/ 5859970 w 7113841"/>
              <a:gd name="connsiteY50" fmla="*/ 4243558 h 5142778"/>
              <a:gd name="connsiteX51" fmla="*/ 5827512 w 7113841"/>
              <a:gd name="connsiteY51" fmla="*/ 4252322 h 5142778"/>
              <a:gd name="connsiteX52" fmla="*/ 5795362 w 7113841"/>
              <a:gd name="connsiteY52" fmla="*/ 4261618 h 5142778"/>
              <a:gd name="connsiteX53" fmla="*/ 5763504 w 7113841"/>
              <a:gd name="connsiteY53" fmla="*/ 4271428 h 5142778"/>
              <a:gd name="connsiteX54" fmla="*/ 5731928 w 7113841"/>
              <a:gd name="connsiteY54" fmla="*/ 4281734 h 5142778"/>
              <a:gd name="connsiteX55" fmla="*/ 5700619 w 7113841"/>
              <a:gd name="connsiteY55" fmla="*/ 4292517 h 5142778"/>
              <a:gd name="connsiteX56" fmla="*/ 5669565 w 7113841"/>
              <a:gd name="connsiteY56" fmla="*/ 4303758 h 5142778"/>
              <a:gd name="connsiteX57" fmla="*/ 5638752 w 7113841"/>
              <a:gd name="connsiteY57" fmla="*/ 4315440 h 5142778"/>
              <a:gd name="connsiteX58" fmla="*/ 5608167 w 7113841"/>
              <a:gd name="connsiteY58" fmla="*/ 4327545 h 5142778"/>
              <a:gd name="connsiteX59" fmla="*/ 5577799 w 7113841"/>
              <a:gd name="connsiteY59" fmla="*/ 4340054 h 5142778"/>
              <a:gd name="connsiteX60" fmla="*/ 5547632 w 7113841"/>
              <a:gd name="connsiteY60" fmla="*/ 4352948 h 5142778"/>
              <a:gd name="connsiteX61" fmla="*/ 5517655 w 7113841"/>
              <a:gd name="connsiteY61" fmla="*/ 4366210 h 5142778"/>
              <a:gd name="connsiteX62" fmla="*/ 5487855 w 7113841"/>
              <a:gd name="connsiteY62" fmla="*/ 4379822 h 5142778"/>
              <a:gd name="connsiteX63" fmla="*/ 5443456 w 7113841"/>
              <a:gd name="connsiteY63" fmla="*/ 4400854 h 5142778"/>
              <a:gd name="connsiteX64" fmla="*/ 5399381 w 7113841"/>
              <a:gd name="connsiteY64" fmla="*/ 4422570 h 5142778"/>
              <a:gd name="connsiteX65" fmla="*/ 5355585 w 7113841"/>
              <a:gd name="connsiteY65" fmla="*/ 4444908 h 5142778"/>
              <a:gd name="connsiteX66" fmla="*/ 5312025 w 7113841"/>
              <a:gd name="connsiteY66" fmla="*/ 4467805 h 5142778"/>
              <a:gd name="connsiteX67" fmla="*/ 5254235 w 7113841"/>
              <a:gd name="connsiteY67" fmla="*/ 4499099 h 5142778"/>
              <a:gd name="connsiteX68" fmla="*/ 5167962 w 7113841"/>
              <a:gd name="connsiteY68" fmla="*/ 4547383 h 5142778"/>
              <a:gd name="connsiteX69" fmla="*/ 4952295 w 7113841"/>
              <a:gd name="connsiteY69" fmla="*/ 4672140 h 5142778"/>
              <a:gd name="connsiteX70" fmla="*/ 4791671 w 7113841"/>
              <a:gd name="connsiteY70" fmla="*/ 4763822 h 5142778"/>
              <a:gd name="connsiteX71" fmla="*/ 4717297 w 7113841"/>
              <a:gd name="connsiteY71" fmla="*/ 4804607 h 5142778"/>
              <a:gd name="connsiteX72" fmla="*/ 4656988 w 7113841"/>
              <a:gd name="connsiteY72" fmla="*/ 4836560 h 5142778"/>
              <a:gd name="connsiteX73" fmla="*/ 4611217 w 7113841"/>
              <a:gd name="connsiteY73" fmla="*/ 4860036 h 5142778"/>
              <a:gd name="connsiteX74" fmla="*/ 4564933 w 7113841"/>
              <a:gd name="connsiteY74" fmla="*/ 4883024 h 5142778"/>
              <a:gd name="connsiteX75" fmla="*/ 4518093 w 7113841"/>
              <a:gd name="connsiteY75" fmla="*/ 4905462 h 5142778"/>
              <a:gd name="connsiteX76" fmla="*/ 4470653 w 7113841"/>
              <a:gd name="connsiteY76" fmla="*/ 4927290 h 5142778"/>
              <a:gd name="connsiteX77" fmla="*/ 4438671 w 7113841"/>
              <a:gd name="connsiteY77" fmla="*/ 4941472 h 5142778"/>
              <a:gd name="connsiteX78" fmla="*/ 4406390 w 7113841"/>
              <a:gd name="connsiteY78" fmla="*/ 4955337 h 5142778"/>
              <a:gd name="connsiteX79" fmla="*/ 4373797 w 7113841"/>
              <a:gd name="connsiteY79" fmla="*/ 4968866 h 5142778"/>
              <a:gd name="connsiteX80" fmla="*/ 4340879 w 7113841"/>
              <a:gd name="connsiteY80" fmla="*/ 4982041 h 5142778"/>
              <a:gd name="connsiteX81" fmla="*/ 4307622 w 7113841"/>
              <a:gd name="connsiteY81" fmla="*/ 4994845 h 5142778"/>
              <a:gd name="connsiteX82" fmla="*/ 4274014 w 7113841"/>
              <a:gd name="connsiteY82" fmla="*/ 5007258 h 5142778"/>
              <a:gd name="connsiteX83" fmla="*/ 4240041 w 7113841"/>
              <a:gd name="connsiteY83" fmla="*/ 5019263 h 5142778"/>
              <a:gd name="connsiteX84" fmla="*/ 4205691 w 7113841"/>
              <a:gd name="connsiteY84" fmla="*/ 5030841 h 5142778"/>
              <a:gd name="connsiteX85" fmla="*/ 4170950 w 7113841"/>
              <a:gd name="connsiteY85" fmla="*/ 5041974 h 5142778"/>
              <a:gd name="connsiteX86" fmla="*/ 4135806 w 7113841"/>
              <a:gd name="connsiteY86" fmla="*/ 5052643 h 5142778"/>
              <a:gd name="connsiteX87" fmla="*/ 4100246 w 7113841"/>
              <a:gd name="connsiteY87" fmla="*/ 5062831 h 5142778"/>
              <a:gd name="connsiteX88" fmla="*/ 4064256 w 7113841"/>
              <a:gd name="connsiteY88" fmla="*/ 5072519 h 5142778"/>
              <a:gd name="connsiteX89" fmla="*/ 4027823 w 7113841"/>
              <a:gd name="connsiteY89" fmla="*/ 5081689 h 5142778"/>
              <a:gd name="connsiteX90" fmla="*/ 3990935 w 7113841"/>
              <a:gd name="connsiteY90" fmla="*/ 5090323 h 5142778"/>
              <a:gd name="connsiteX91" fmla="*/ 3953578 w 7113841"/>
              <a:gd name="connsiteY91" fmla="*/ 5098402 h 5142778"/>
              <a:gd name="connsiteX92" fmla="*/ 3915739 w 7113841"/>
              <a:gd name="connsiteY92" fmla="*/ 5105908 h 5142778"/>
              <a:gd name="connsiteX93" fmla="*/ 3877406 w 7113841"/>
              <a:gd name="connsiteY93" fmla="*/ 5112824 h 5142778"/>
              <a:gd name="connsiteX94" fmla="*/ 3838565 w 7113841"/>
              <a:gd name="connsiteY94" fmla="*/ 5119129 h 5142778"/>
              <a:gd name="connsiteX95" fmla="*/ 3799203 w 7113841"/>
              <a:gd name="connsiteY95" fmla="*/ 5124807 h 5142778"/>
              <a:gd name="connsiteX96" fmla="*/ 3759308 w 7113841"/>
              <a:gd name="connsiteY96" fmla="*/ 5129839 h 5142778"/>
              <a:gd name="connsiteX97" fmla="*/ 3718865 w 7113841"/>
              <a:gd name="connsiteY97" fmla="*/ 5134207 h 5142778"/>
              <a:gd name="connsiteX98" fmla="*/ 3677863 w 7113841"/>
              <a:gd name="connsiteY98" fmla="*/ 5137893 h 5142778"/>
              <a:gd name="connsiteX99" fmla="*/ 3636288 w 7113841"/>
              <a:gd name="connsiteY99" fmla="*/ 5140877 h 5142778"/>
              <a:gd name="connsiteX100" fmla="*/ 3600919 w 7113841"/>
              <a:gd name="connsiteY100" fmla="*/ 5142778 h 5142778"/>
              <a:gd name="connsiteX101" fmla="*/ 0 w 7113841"/>
              <a:gd name="connsiteY101" fmla="*/ 5142778 h 5142778"/>
              <a:gd name="connsiteX102" fmla="*/ 36355 w 7113841"/>
              <a:gd name="connsiteY102" fmla="*/ 5078128 h 5142778"/>
              <a:gd name="connsiteX103" fmla="*/ 85405 w 7113841"/>
              <a:gd name="connsiteY103" fmla="*/ 4991843 h 5142778"/>
              <a:gd name="connsiteX104" fmla="*/ 164324 w 7113841"/>
              <a:gd name="connsiteY104" fmla="*/ 4854690 h 5142778"/>
              <a:gd name="connsiteX105" fmla="*/ 381230 w 7113841"/>
              <a:gd name="connsiteY105" fmla="*/ 4481186 h 5142778"/>
              <a:gd name="connsiteX106" fmla="*/ 439596 w 7113841"/>
              <a:gd name="connsiteY106" fmla="*/ 4379712 h 5142778"/>
              <a:gd name="connsiteX107" fmla="*/ 478157 w 7113841"/>
              <a:gd name="connsiteY107" fmla="*/ 4312042 h 5142778"/>
              <a:gd name="connsiteX108" fmla="*/ 516383 w 7113841"/>
              <a:gd name="connsiteY108" fmla="*/ 4244314 h 5142778"/>
              <a:gd name="connsiteX109" fmla="*/ 544803 w 7113841"/>
              <a:gd name="connsiteY109" fmla="*/ 4193459 h 5142778"/>
              <a:gd name="connsiteX110" fmla="*/ 572987 w 7113841"/>
              <a:gd name="connsiteY110" fmla="*/ 4142538 h 5142778"/>
              <a:gd name="connsiteX111" fmla="*/ 591636 w 7113841"/>
              <a:gd name="connsiteY111" fmla="*/ 4108547 h 5142778"/>
              <a:gd name="connsiteX112" fmla="*/ 610163 w 7113841"/>
              <a:gd name="connsiteY112" fmla="*/ 4074516 h 5142778"/>
              <a:gd name="connsiteX113" fmla="*/ 628565 w 7113841"/>
              <a:gd name="connsiteY113" fmla="*/ 4040440 h 5142778"/>
              <a:gd name="connsiteX114" fmla="*/ 646835 w 7113841"/>
              <a:gd name="connsiteY114" fmla="*/ 4006315 h 5142778"/>
              <a:gd name="connsiteX115" fmla="*/ 664966 w 7113841"/>
              <a:gd name="connsiteY115" fmla="*/ 3972137 h 5142778"/>
              <a:gd name="connsiteX116" fmla="*/ 682954 w 7113841"/>
              <a:gd name="connsiteY116" fmla="*/ 3937902 h 5142778"/>
              <a:gd name="connsiteX117" fmla="*/ 691892 w 7113841"/>
              <a:gd name="connsiteY117" fmla="*/ 3920762 h 5142778"/>
              <a:gd name="connsiteX118" fmla="*/ 700791 w 7113841"/>
              <a:gd name="connsiteY118" fmla="*/ 3903606 h 5142778"/>
              <a:gd name="connsiteX119" fmla="*/ 709652 w 7113841"/>
              <a:gd name="connsiteY119" fmla="*/ 3886433 h 5142778"/>
              <a:gd name="connsiteX120" fmla="*/ 718472 w 7113841"/>
              <a:gd name="connsiteY120" fmla="*/ 3869243 h 5142778"/>
              <a:gd name="connsiteX121" fmla="*/ 727252 w 7113841"/>
              <a:gd name="connsiteY121" fmla="*/ 3852035 h 5142778"/>
              <a:gd name="connsiteX122" fmla="*/ 735991 w 7113841"/>
              <a:gd name="connsiteY122" fmla="*/ 3834810 h 5142778"/>
              <a:gd name="connsiteX123" fmla="*/ 744687 w 7113841"/>
              <a:gd name="connsiteY123" fmla="*/ 3817565 h 5142778"/>
              <a:gd name="connsiteX124" fmla="*/ 753341 w 7113841"/>
              <a:gd name="connsiteY124" fmla="*/ 3800302 h 5142778"/>
              <a:gd name="connsiteX125" fmla="*/ 761951 w 7113841"/>
              <a:gd name="connsiteY125" fmla="*/ 3783019 h 5142778"/>
              <a:gd name="connsiteX126" fmla="*/ 770517 w 7113841"/>
              <a:gd name="connsiteY126" fmla="*/ 3765715 h 5142778"/>
              <a:gd name="connsiteX127" fmla="*/ 779038 w 7113841"/>
              <a:gd name="connsiteY127" fmla="*/ 3748391 h 5142778"/>
              <a:gd name="connsiteX128" fmla="*/ 787512 w 7113841"/>
              <a:gd name="connsiteY128" fmla="*/ 3731046 h 5142778"/>
              <a:gd name="connsiteX129" fmla="*/ 795941 w 7113841"/>
              <a:gd name="connsiteY129" fmla="*/ 3713678 h 5142778"/>
              <a:gd name="connsiteX130" fmla="*/ 804322 w 7113841"/>
              <a:gd name="connsiteY130" fmla="*/ 3696288 h 5142778"/>
              <a:gd name="connsiteX131" fmla="*/ 812655 w 7113841"/>
              <a:gd name="connsiteY131" fmla="*/ 3678875 h 5142778"/>
              <a:gd name="connsiteX132" fmla="*/ 820938 w 7113841"/>
              <a:gd name="connsiteY132" fmla="*/ 3661439 h 5142778"/>
              <a:gd name="connsiteX133" fmla="*/ 829172 w 7113841"/>
              <a:gd name="connsiteY133" fmla="*/ 3643979 h 5142778"/>
              <a:gd name="connsiteX134" fmla="*/ 837357 w 7113841"/>
              <a:gd name="connsiteY134" fmla="*/ 3626494 h 5142778"/>
              <a:gd name="connsiteX135" fmla="*/ 845490 w 7113841"/>
              <a:gd name="connsiteY135" fmla="*/ 3608984 h 5142778"/>
              <a:gd name="connsiteX136" fmla="*/ 853571 w 7113841"/>
              <a:gd name="connsiteY136" fmla="*/ 3591449 h 5142778"/>
              <a:gd name="connsiteX137" fmla="*/ 861599 w 7113841"/>
              <a:gd name="connsiteY137" fmla="*/ 3573886 h 5142778"/>
              <a:gd name="connsiteX138" fmla="*/ 869574 w 7113841"/>
              <a:gd name="connsiteY138" fmla="*/ 3556298 h 5142778"/>
              <a:gd name="connsiteX139" fmla="*/ 877495 w 7113841"/>
              <a:gd name="connsiteY139" fmla="*/ 3538682 h 5142778"/>
              <a:gd name="connsiteX140" fmla="*/ 885361 w 7113841"/>
              <a:gd name="connsiteY140" fmla="*/ 3521039 h 5142778"/>
              <a:gd name="connsiteX141" fmla="*/ 893171 w 7113841"/>
              <a:gd name="connsiteY141" fmla="*/ 3503367 h 5142778"/>
              <a:gd name="connsiteX142" fmla="*/ 900925 w 7113841"/>
              <a:gd name="connsiteY142" fmla="*/ 3485666 h 5142778"/>
              <a:gd name="connsiteX143" fmla="*/ 908622 w 7113841"/>
              <a:gd name="connsiteY143" fmla="*/ 3467936 h 5142778"/>
              <a:gd name="connsiteX144" fmla="*/ 916260 w 7113841"/>
              <a:gd name="connsiteY144" fmla="*/ 3450176 h 5142778"/>
              <a:gd name="connsiteX145" fmla="*/ 923841 w 7113841"/>
              <a:gd name="connsiteY145" fmla="*/ 3432385 h 5142778"/>
              <a:gd name="connsiteX146" fmla="*/ 931361 w 7113841"/>
              <a:gd name="connsiteY146" fmla="*/ 3414563 h 5142778"/>
              <a:gd name="connsiteX147" fmla="*/ 938822 w 7113841"/>
              <a:gd name="connsiteY147" fmla="*/ 3396710 h 5142778"/>
              <a:gd name="connsiteX148" fmla="*/ 946221 w 7113841"/>
              <a:gd name="connsiteY148" fmla="*/ 3378825 h 5142778"/>
              <a:gd name="connsiteX149" fmla="*/ 953559 w 7113841"/>
              <a:gd name="connsiteY149" fmla="*/ 3360907 h 5142778"/>
              <a:gd name="connsiteX150" fmla="*/ 960835 w 7113841"/>
              <a:gd name="connsiteY150" fmla="*/ 3342956 h 5142778"/>
              <a:gd name="connsiteX151" fmla="*/ 968048 w 7113841"/>
              <a:gd name="connsiteY151" fmla="*/ 3324971 h 5142778"/>
              <a:gd name="connsiteX152" fmla="*/ 975195 w 7113841"/>
              <a:gd name="connsiteY152" fmla="*/ 3306952 h 5142778"/>
              <a:gd name="connsiteX153" fmla="*/ 982280 w 7113841"/>
              <a:gd name="connsiteY153" fmla="*/ 3288898 h 5142778"/>
              <a:gd name="connsiteX154" fmla="*/ 989297 w 7113841"/>
              <a:gd name="connsiteY154" fmla="*/ 3270809 h 5142778"/>
              <a:gd name="connsiteX155" fmla="*/ 996250 w 7113841"/>
              <a:gd name="connsiteY155" fmla="*/ 3252684 h 5142778"/>
              <a:gd name="connsiteX156" fmla="*/ 1003136 w 7113841"/>
              <a:gd name="connsiteY156" fmla="*/ 3234522 h 5142778"/>
              <a:gd name="connsiteX157" fmla="*/ 1009953 w 7113841"/>
              <a:gd name="connsiteY157" fmla="*/ 3216324 h 5142778"/>
              <a:gd name="connsiteX158" fmla="*/ 1016702 w 7113841"/>
              <a:gd name="connsiteY158" fmla="*/ 3198088 h 5142778"/>
              <a:gd name="connsiteX159" fmla="*/ 1023381 w 7113841"/>
              <a:gd name="connsiteY159" fmla="*/ 3179814 h 5142778"/>
              <a:gd name="connsiteX160" fmla="*/ 1029991 w 7113841"/>
              <a:gd name="connsiteY160" fmla="*/ 3161502 h 5142778"/>
              <a:gd name="connsiteX161" fmla="*/ 1036530 w 7113841"/>
              <a:gd name="connsiteY161" fmla="*/ 3143151 h 5142778"/>
              <a:gd name="connsiteX162" fmla="*/ 1042998 w 7113841"/>
              <a:gd name="connsiteY162" fmla="*/ 3124759 h 5142778"/>
              <a:gd name="connsiteX163" fmla="*/ 1049393 w 7113841"/>
              <a:gd name="connsiteY163" fmla="*/ 3106328 h 5142778"/>
              <a:gd name="connsiteX164" fmla="*/ 1055715 w 7113841"/>
              <a:gd name="connsiteY164" fmla="*/ 3087856 h 5142778"/>
              <a:gd name="connsiteX165" fmla="*/ 1061964 w 7113841"/>
              <a:gd name="connsiteY165" fmla="*/ 3069343 h 5142778"/>
              <a:gd name="connsiteX166" fmla="*/ 1068138 w 7113841"/>
              <a:gd name="connsiteY166" fmla="*/ 3050788 h 5142778"/>
              <a:gd name="connsiteX167" fmla="*/ 1074237 w 7113841"/>
              <a:gd name="connsiteY167" fmla="*/ 3032191 h 5142778"/>
              <a:gd name="connsiteX168" fmla="*/ 1080260 w 7113841"/>
              <a:gd name="connsiteY168" fmla="*/ 3013551 h 5142778"/>
              <a:gd name="connsiteX169" fmla="*/ 1086206 w 7113841"/>
              <a:gd name="connsiteY169" fmla="*/ 2994867 h 5142778"/>
              <a:gd name="connsiteX170" fmla="*/ 1092075 w 7113841"/>
              <a:gd name="connsiteY170" fmla="*/ 2976140 h 5142778"/>
              <a:gd name="connsiteX171" fmla="*/ 1097865 w 7113841"/>
              <a:gd name="connsiteY171" fmla="*/ 2957368 h 5142778"/>
              <a:gd name="connsiteX172" fmla="*/ 1103577 w 7113841"/>
              <a:gd name="connsiteY172" fmla="*/ 2938551 h 5142778"/>
              <a:gd name="connsiteX173" fmla="*/ 1109208 w 7113841"/>
              <a:gd name="connsiteY173" fmla="*/ 2919688 h 5142778"/>
              <a:gd name="connsiteX174" fmla="*/ 1114759 w 7113841"/>
              <a:gd name="connsiteY174" fmla="*/ 2900780 h 5142778"/>
              <a:gd name="connsiteX175" fmla="*/ 1120228 w 7113841"/>
              <a:gd name="connsiteY175" fmla="*/ 2881825 h 5142778"/>
              <a:gd name="connsiteX176" fmla="*/ 1125617 w 7113841"/>
              <a:gd name="connsiteY176" fmla="*/ 2862822 h 5142778"/>
              <a:gd name="connsiteX177" fmla="*/ 1130921 w 7113841"/>
              <a:gd name="connsiteY177" fmla="*/ 2843773 h 5142778"/>
              <a:gd name="connsiteX178" fmla="*/ 1136143 w 7113841"/>
              <a:gd name="connsiteY178" fmla="*/ 2824674 h 5142778"/>
              <a:gd name="connsiteX179" fmla="*/ 1141280 w 7113841"/>
              <a:gd name="connsiteY179" fmla="*/ 2805527 h 5142778"/>
              <a:gd name="connsiteX180" fmla="*/ 1146332 w 7113841"/>
              <a:gd name="connsiteY180" fmla="*/ 2786331 h 5142778"/>
              <a:gd name="connsiteX181" fmla="*/ 1151298 w 7113841"/>
              <a:gd name="connsiteY181" fmla="*/ 2767085 h 5142778"/>
              <a:gd name="connsiteX182" fmla="*/ 1156178 w 7113841"/>
              <a:gd name="connsiteY182" fmla="*/ 2747788 h 5142778"/>
              <a:gd name="connsiteX183" fmla="*/ 1160971 w 7113841"/>
              <a:gd name="connsiteY183" fmla="*/ 2728441 h 5142778"/>
              <a:gd name="connsiteX184" fmla="*/ 1165675 w 7113841"/>
              <a:gd name="connsiteY184" fmla="*/ 2709042 h 5142778"/>
              <a:gd name="connsiteX185" fmla="*/ 1170290 w 7113841"/>
              <a:gd name="connsiteY185" fmla="*/ 2689591 h 5142778"/>
              <a:gd name="connsiteX186" fmla="*/ 1174816 w 7113841"/>
              <a:gd name="connsiteY186" fmla="*/ 2670087 h 5142778"/>
              <a:gd name="connsiteX187" fmla="*/ 1179252 w 7113841"/>
              <a:gd name="connsiteY187" fmla="*/ 2650531 h 5142778"/>
              <a:gd name="connsiteX188" fmla="*/ 1183597 w 7113841"/>
              <a:gd name="connsiteY188" fmla="*/ 2630921 h 5142778"/>
              <a:gd name="connsiteX189" fmla="*/ 1187850 w 7113841"/>
              <a:gd name="connsiteY189" fmla="*/ 2611257 h 5142778"/>
              <a:gd name="connsiteX190" fmla="*/ 1192010 w 7113841"/>
              <a:gd name="connsiteY190" fmla="*/ 2591538 h 5142778"/>
              <a:gd name="connsiteX191" fmla="*/ 1196077 w 7113841"/>
              <a:gd name="connsiteY191" fmla="*/ 2571764 h 5142778"/>
              <a:gd name="connsiteX192" fmla="*/ 1200049 w 7113841"/>
              <a:gd name="connsiteY192" fmla="*/ 2551934 h 5142778"/>
              <a:gd name="connsiteX193" fmla="*/ 1203927 w 7113841"/>
              <a:gd name="connsiteY193" fmla="*/ 2532048 h 5142778"/>
              <a:gd name="connsiteX194" fmla="*/ 1207710 w 7113841"/>
              <a:gd name="connsiteY194" fmla="*/ 2512105 h 5142778"/>
              <a:gd name="connsiteX195" fmla="*/ 1211395 w 7113841"/>
              <a:gd name="connsiteY195" fmla="*/ 2492104 h 5142778"/>
              <a:gd name="connsiteX196" fmla="*/ 1214985 w 7113841"/>
              <a:gd name="connsiteY196" fmla="*/ 2472046 h 5142778"/>
              <a:gd name="connsiteX197" fmla="*/ 1218476 w 7113841"/>
              <a:gd name="connsiteY197" fmla="*/ 2451929 h 5142778"/>
              <a:gd name="connsiteX198" fmla="*/ 1221868 w 7113841"/>
              <a:gd name="connsiteY198" fmla="*/ 2431753 h 5142778"/>
              <a:gd name="connsiteX199" fmla="*/ 1225161 w 7113841"/>
              <a:gd name="connsiteY199" fmla="*/ 2411518 h 5142778"/>
              <a:gd name="connsiteX200" fmla="*/ 1228353 w 7113841"/>
              <a:gd name="connsiteY200" fmla="*/ 2391223 h 5142778"/>
              <a:gd name="connsiteX201" fmla="*/ 1231446 w 7113841"/>
              <a:gd name="connsiteY201" fmla="*/ 2370867 h 5142778"/>
              <a:gd name="connsiteX202" fmla="*/ 1234436 w 7113841"/>
              <a:gd name="connsiteY202" fmla="*/ 2350449 h 5142778"/>
              <a:gd name="connsiteX203" fmla="*/ 1237324 w 7113841"/>
              <a:gd name="connsiteY203" fmla="*/ 2329971 h 5142778"/>
              <a:gd name="connsiteX204" fmla="*/ 1240109 w 7113841"/>
              <a:gd name="connsiteY204" fmla="*/ 2309430 h 5142778"/>
              <a:gd name="connsiteX205" fmla="*/ 1242790 w 7113841"/>
              <a:gd name="connsiteY205" fmla="*/ 2288826 h 5142778"/>
              <a:gd name="connsiteX206" fmla="*/ 1245366 w 7113841"/>
              <a:gd name="connsiteY206" fmla="*/ 2268159 h 5142778"/>
              <a:gd name="connsiteX207" fmla="*/ 1247837 w 7113841"/>
              <a:gd name="connsiteY207" fmla="*/ 2247428 h 5142778"/>
              <a:gd name="connsiteX208" fmla="*/ 1250202 w 7113841"/>
              <a:gd name="connsiteY208" fmla="*/ 2226633 h 5142778"/>
              <a:gd name="connsiteX209" fmla="*/ 1252460 w 7113841"/>
              <a:gd name="connsiteY209" fmla="*/ 2205773 h 5142778"/>
              <a:gd name="connsiteX210" fmla="*/ 1254610 w 7113841"/>
              <a:gd name="connsiteY210" fmla="*/ 2184847 h 5142778"/>
              <a:gd name="connsiteX211" fmla="*/ 1256651 w 7113841"/>
              <a:gd name="connsiteY211" fmla="*/ 2163856 h 5142778"/>
              <a:gd name="connsiteX212" fmla="*/ 1258584 w 7113841"/>
              <a:gd name="connsiteY212" fmla="*/ 2142798 h 5142778"/>
              <a:gd name="connsiteX213" fmla="*/ 1260407 w 7113841"/>
              <a:gd name="connsiteY213" fmla="*/ 2121673 h 5142778"/>
              <a:gd name="connsiteX214" fmla="*/ 1262119 w 7113841"/>
              <a:gd name="connsiteY214" fmla="*/ 2100480 h 5142778"/>
              <a:gd name="connsiteX215" fmla="*/ 1263719 w 7113841"/>
              <a:gd name="connsiteY215" fmla="*/ 2079219 h 5142778"/>
              <a:gd name="connsiteX216" fmla="*/ 1265207 w 7113841"/>
              <a:gd name="connsiteY216" fmla="*/ 2057890 h 5142778"/>
              <a:gd name="connsiteX217" fmla="*/ 1266583 w 7113841"/>
              <a:gd name="connsiteY217" fmla="*/ 2036492 h 5142778"/>
              <a:gd name="connsiteX218" fmla="*/ 1267845 w 7113841"/>
              <a:gd name="connsiteY218" fmla="*/ 2015023 h 5142778"/>
              <a:gd name="connsiteX219" fmla="*/ 1268992 w 7113841"/>
              <a:gd name="connsiteY219" fmla="*/ 1993484 h 5142778"/>
              <a:gd name="connsiteX220" fmla="*/ 1270024 w 7113841"/>
              <a:gd name="connsiteY220" fmla="*/ 1971875 h 5142778"/>
              <a:gd name="connsiteX221" fmla="*/ 1270940 w 7113841"/>
              <a:gd name="connsiteY221" fmla="*/ 1950194 h 5142778"/>
              <a:gd name="connsiteX222" fmla="*/ 1271740 w 7113841"/>
              <a:gd name="connsiteY222" fmla="*/ 1928441 h 5142778"/>
              <a:gd name="connsiteX223" fmla="*/ 1272422 w 7113841"/>
              <a:gd name="connsiteY223" fmla="*/ 1906616 h 5142778"/>
              <a:gd name="connsiteX224" fmla="*/ 1272986 w 7113841"/>
              <a:gd name="connsiteY224" fmla="*/ 1884718 h 5142778"/>
              <a:gd name="connsiteX225" fmla="*/ 1273430 w 7113841"/>
              <a:gd name="connsiteY225" fmla="*/ 1862747 h 5142778"/>
              <a:gd name="connsiteX226" fmla="*/ 1273755 w 7113841"/>
              <a:gd name="connsiteY226" fmla="*/ 1840700 h 5142778"/>
              <a:gd name="connsiteX227" fmla="*/ 1273961 w 7113841"/>
              <a:gd name="connsiteY227" fmla="*/ 1818581 h 5142778"/>
              <a:gd name="connsiteX228" fmla="*/ 1274005 w 7113841"/>
              <a:gd name="connsiteY228" fmla="*/ 1774114 h 5142778"/>
              <a:gd name="connsiteX229" fmla="*/ 1273844 w 7113841"/>
              <a:gd name="connsiteY229" fmla="*/ 1751767 h 5142778"/>
              <a:gd name="connsiteX230" fmla="*/ 1273558 w 7113841"/>
              <a:gd name="connsiteY230" fmla="*/ 1729342 h 5142778"/>
              <a:gd name="connsiteX231" fmla="*/ 1273150 w 7113841"/>
              <a:gd name="connsiteY231" fmla="*/ 1706841 h 5142778"/>
              <a:gd name="connsiteX232" fmla="*/ 1272616 w 7113841"/>
              <a:gd name="connsiteY232" fmla="*/ 1684263 h 5142778"/>
              <a:gd name="connsiteX233" fmla="*/ 1271956 w 7113841"/>
              <a:gd name="connsiteY233" fmla="*/ 1661605 h 5142778"/>
              <a:gd name="connsiteX234" fmla="*/ 1271170 w 7113841"/>
              <a:gd name="connsiteY234" fmla="*/ 1638868 h 5142778"/>
              <a:gd name="connsiteX235" fmla="*/ 1270256 w 7113841"/>
              <a:gd name="connsiteY235" fmla="*/ 1616053 h 5142778"/>
              <a:gd name="connsiteX236" fmla="*/ 1269215 w 7113841"/>
              <a:gd name="connsiteY236" fmla="*/ 1593157 h 5142778"/>
              <a:gd name="connsiteX237" fmla="*/ 1268044 w 7113841"/>
              <a:gd name="connsiteY237" fmla="*/ 1570181 h 5142778"/>
              <a:gd name="connsiteX238" fmla="*/ 1266744 w 7113841"/>
              <a:gd name="connsiteY238" fmla="*/ 1547124 h 5142778"/>
              <a:gd name="connsiteX239" fmla="*/ 1265314 w 7113841"/>
              <a:gd name="connsiteY239" fmla="*/ 1523985 h 5142778"/>
              <a:gd name="connsiteX240" fmla="*/ 1263753 w 7113841"/>
              <a:gd name="connsiteY240" fmla="*/ 1500764 h 5142778"/>
              <a:gd name="connsiteX241" fmla="*/ 1262060 w 7113841"/>
              <a:gd name="connsiteY241" fmla="*/ 1477461 h 5142778"/>
              <a:gd name="connsiteX242" fmla="*/ 1260234 w 7113841"/>
              <a:gd name="connsiteY242" fmla="*/ 1454074 h 5142778"/>
              <a:gd name="connsiteX243" fmla="*/ 1258276 w 7113841"/>
              <a:gd name="connsiteY243" fmla="*/ 1430604 h 5142778"/>
              <a:gd name="connsiteX244" fmla="*/ 1256182 w 7113841"/>
              <a:gd name="connsiteY244" fmla="*/ 1407049 h 5142778"/>
              <a:gd name="connsiteX245" fmla="*/ 1253955 w 7113841"/>
              <a:gd name="connsiteY245" fmla="*/ 1383410 h 5142778"/>
              <a:gd name="connsiteX246" fmla="*/ 1251592 w 7113841"/>
              <a:gd name="connsiteY246" fmla="*/ 1359685 h 5142778"/>
              <a:gd name="connsiteX247" fmla="*/ 1249092 w 7113841"/>
              <a:gd name="connsiteY247" fmla="*/ 1335873 h 5142778"/>
              <a:gd name="connsiteX248" fmla="*/ 1246456 w 7113841"/>
              <a:gd name="connsiteY248" fmla="*/ 1311977 h 5142778"/>
              <a:gd name="connsiteX249" fmla="*/ 1243681 w 7113841"/>
              <a:gd name="connsiteY249" fmla="*/ 1287992 h 5142778"/>
              <a:gd name="connsiteX250" fmla="*/ 1240769 w 7113841"/>
              <a:gd name="connsiteY250" fmla="*/ 1263921 h 5142778"/>
              <a:gd name="connsiteX251" fmla="*/ 1237716 w 7113841"/>
              <a:gd name="connsiteY251" fmla="*/ 1239761 h 5142778"/>
              <a:gd name="connsiteX252" fmla="*/ 1234524 w 7113841"/>
              <a:gd name="connsiteY252" fmla="*/ 1215513 h 5142778"/>
              <a:gd name="connsiteX253" fmla="*/ 1231190 w 7113841"/>
              <a:gd name="connsiteY253" fmla="*/ 1191176 h 5142778"/>
              <a:gd name="connsiteX254" fmla="*/ 1227715 w 7113841"/>
              <a:gd name="connsiteY254" fmla="*/ 1166749 h 5142778"/>
              <a:gd name="connsiteX255" fmla="*/ 1224099 w 7113841"/>
              <a:gd name="connsiteY255" fmla="*/ 1142232 h 5142778"/>
              <a:gd name="connsiteX256" fmla="*/ 1220339 w 7113841"/>
              <a:gd name="connsiteY256" fmla="*/ 1117624 h 5142778"/>
              <a:gd name="connsiteX257" fmla="*/ 1216434 w 7113841"/>
              <a:gd name="connsiteY257" fmla="*/ 1092925 h 5142778"/>
              <a:gd name="connsiteX258" fmla="*/ 1212386 w 7113841"/>
              <a:gd name="connsiteY258" fmla="*/ 1068134 h 5142778"/>
              <a:gd name="connsiteX259" fmla="*/ 1208192 w 7113841"/>
              <a:gd name="connsiteY259" fmla="*/ 1043251 h 5142778"/>
              <a:gd name="connsiteX260" fmla="*/ 1203852 w 7113841"/>
              <a:gd name="connsiteY260" fmla="*/ 1018274 h 5142778"/>
              <a:gd name="connsiteX261" fmla="*/ 1199365 w 7113841"/>
              <a:gd name="connsiteY261" fmla="*/ 993205 h 5142778"/>
              <a:gd name="connsiteX262" fmla="*/ 1194731 w 7113841"/>
              <a:gd name="connsiteY262" fmla="*/ 968042 h 5142778"/>
              <a:gd name="connsiteX263" fmla="*/ 1189948 w 7113841"/>
              <a:gd name="connsiteY263" fmla="*/ 942784 h 5142778"/>
              <a:gd name="connsiteX264" fmla="*/ 1185016 w 7113841"/>
              <a:gd name="connsiteY264" fmla="*/ 917431 h 5142778"/>
              <a:gd name="connsiteX265" fmla="*/ 1179934 w 7113841"/>
              <a:gd name="connsiteY265" fmla="*/ 891982 h 5142778"/>
              <a:gd name="connsiteX266" fmla="*/ 1174701 w 7113841"/>
              <a:gd name="connsiteY266" fmla="*/ 866438 h 5142778"/>
              <a:gd name="connsiteX267" fmla="*/ 1169317 w 7113841"/>
              <a:gd name="connsiteY267" fmla="*/ 840796 h 5142778"/>
              <a:gd name="connsiteX268" fmla="*/ 1163781 w 7113841"/>
              <a:gd name="connsiteY268" fmla="*/ 815058 h 5142778"/>
              <a:gd name="connsiteX269" fmla="*/ 1158092 w 7113841"/>
              <a:gd name="connsiteY269" fmla="*/ 789222 h 5142778"/>
              <a:gd name="connsiteX270" fmla="*/ 1152249 w 7113841"/>
              <a:gd name="connsiteY270" fmla="*/ 763287 h 5142778"/>
              <a:gd name="connsiteX271" fmla="*/ 1146253 w 7113841"/>
              <a:gd name="connsiteY271" fmla="*/ 737255 h 5142778"/>
              <a:gd name="connsiteX272" fmla="*/ 1140101 w 7113841"/>
              <a:gd name="connsiteY272" fmla="*/ 711122 h 5142778"/>
              <a:gd name="connsiteX273" fmla="*/ 1133793 w 7113841"/>
              <a:gd name="connsiteY273" fmla="*/ 684890 h 5142778"/>
              <a:gd name="connsiteX274" fmla="*/ 1127327 w 7113841"/>
              <a:gd name="connsiteY274" fmla="*/ 658557 h 5142778"/>
              <a:gd name="connsiteX275" fmla="*/ 1120705 w 7113841"/>
              <a:gd name="connsiteY275" fmla="*/ 632123 h 5142778"/>
              <a:gd name="connsiteX276" fmla="*/ 1113925 w 7113841"/>
              <a:gd name="connsiteY276" fmla="*/ 605589 h 5142778"/>
              <a:gd name="connsiteX277" fmla="*/ 1106986 w 7113841"/>
              <a:gd name="connsiteY277" fmla="*/ 578951 h 5142778"/>
              <a:gd name="connsiteX278" fmla="*/ 1099887 w 7113841"/>
              <a:gd name="connsiteY278" fmla="*/ 552212 h 5142778"/>
              <a:gd name="connsiteX279" fmla="*/ 1092628 w 7113841"/>
              <a:gd name="connsiteY279" fmla="*/ 525369 h 5142778"/>
              <a:gd name="connsiteX280" fmla="*/ 1085207 w 7113841"/>
              <a:gd name="connsiteY280" fmla="*/ 498423 h 5142778"/>
              <a:gd name="connsiteX281" fmla="*/ 1077624 w 7113841"/>
              <a:gd name="connsiteY281" fmla="*/ 471372 h 5142778"/>
              <a:gd name="connsiteX282" fmla="*/ 1069880 w 7113841"/>
              <a:gd name="connsiteY282" fmla="*/ 444217 h 5142778"/>
              <a:gd name="connsiteX283" fmla="*/ 1061971 w 7113841"/>
              <a:gd name="connsiteY283" fmla="*/ 416957 h 5142778"/>
              <a:gd name="connsiteX284" fmla="*/ 1053898 w 7113841"/>
              <a:gd name="connsiteY284" fmla="*/ 389591 h 5142778"/>
              <a:gd name="connsiteX285" fmla="*/ 1045660 w 7113841"/>
              <a:gd name="connsiteY285" fmla="*/ 362118 h 5142778"/>
              <a:gd name="connsiteX286" fmla="*/ 1037256 w 7113841"/>
              <a:gd name="connsiteY286" fmla="*/ 334538 h 5142778"/>
              <a:gd name="connsiteX287" fmla="*/ 1028686 w 7113841"/>
              <a:gd name="connsiteY287" fmla="*/ 306852 h 5142778"/>
              <a:gd name="connsiteX288" fmla="*/ 1019950 w 7113841"/>
              <a:gd name="connsiteY288" fmla="*/ 279057 h 5142778"/>
              <a:gd name="connsiteX289" fmla="*/ 1011045 w 7113841"/>
              <a:gd name="connsiteY289" fmla="*/ 251154 h 5142778"/>
              <a:gd name="connsiteX290" fmla="*/ 1001971 w 7113841"/>
              <a:gd name="connsiteY290" fmla="*/ 223142 h 5142778"/>
              <a:gd name="connsiteX291" fmla="*/ 992728 w 7113841"/>
              <a:gd name="connsiteY291" fmla="*/ 195020 h 5142778"/>
              <a:gd name="connsiteX292" fmla="*/ 983314 w 7113841"/>
              <a:gd name="connsiteY292" fmla="*/ 166788 h 5142778"/>
              <a:gd name="connsiteX293" fmla="*/ 973730 w 7113841"/>
              <a:gd name="connsiteY293" fmla="*/ 138446 h 5142778"/>
              <a:gd name="connsiteX294" fmla="*/ 963974 w 7113841"/>
              <a:gd name="connsiteY294" fmla="*/ 109992 h 5142778"/>
              <a:gd name="connsiteX295" fmla="*/ 954045 w 7113841"/>
              <a:gd name="connsiteY295" fmla="*/ 81427 h 5142778"/>
              <a:gd name="connsiteX296" fmla="*/ 943943 w 7113841"/>
              <a:gd name="connsiteY296" fmla="*/ 52750 h 5142778"/>
              <a:gd name="connsiteX297" fmla="*/ 933667 w 7113841"/>
              <a:gd name="connsiteY297" fmla="*/ 23959 h 514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Lst>
            <a:rect l="l" t="t" r="r" b="b"/>
            <a:pathLst>
              <a:path w="7113841" h="5142778">
                <a:moveTo>
                  <a:pt x="925004" y="0"/>
                </a:moveTo>
                <a:lnTo>
                  <a:pt x="7113841" y="0"/>
                </a:lnTo>
                <a:lnTo>
                  <a:pt x="7113841" y="4345781"/>
                </a:lnTo>
                <a:lnTo>
                  <a:pt x="7113839" y="4345781"/>
                </a:lnTo>
                <a:lnTo>
                  <a:pt x="7113839" y="4344165"/>
                </a:lnTo>
                <a:lnTo>
                  <a:pt x="7065051" y="4326824"/>
                </a:lnTo>
                <a:lnTo>
                  <a:pt x="7016980" y="4310591"/>
                </a:lnTo>
                <a:lnTo>
                  <a:pt x="6969613" y="4295447"/>
                </a:lnTo>
                <a:lnTo>
                  <a:pt x="6922939" y="4281374"/>
                </a:lnTo>
                <a:lnTo>
                  <a:pt x="6876941" y="4268353"/>
                </a:lnTo>
                <a:lnTo>
                  <a:pt x="6831609" y="4256365"/>
                </a:lnTo>
                <a:lnTo>
                  <a:pt x="6786928" y="4245394"/>
                </a:lnTo>
                <a:lnTo>
                  <a:pt x="6742887" y="4235421"/>
                </a:lnTo>
                <a:lnTo>
                  <a:pt x="6699472" y="4226427"/>
                </a:lnTo>
                <a:lnTo>
                  <a:pt x="6656669" y="4218394"/>
                </a:lnTo>
                <a:lnTo>
                  <a:pt x="6614465" y="4211304"/>
                </a:lnTo>
                <a:lnTo>
                  <a:pt x="6572851" y="4205138"/>
                </a:lnTo>
                <a:lnTo>
                  <a:pt x="6552259" y="4202397"/>
                </a:lnTo>
                <a:lnTo>
                  <a:pt x="6531808" y="4199880"/>
                </a:lnTo>
                <a:lnTo>
                  <a:pt x="6511499" y="4197584"/>
                </a:lnTo>
                <a:lnTo>
                  <a:pt x="6491327" y="4195509"/>
                </a:lnTo>
                <a:lnTo>
                  <a:pt x="6471293" y="4193650"/>
                </a:lnTo>
                <a:lnTo>
                  <a:pt x="6451393" y="4192007"/>
                </a:lnTo>
                <a:lnTo>
                  <a:pt x="6431629" y="4190577"/>
                </a:lnTo>
                <a:lnTo>
                  <a:pt x="6411994" y="4189358"/>
                </a:lnTo>
                <a:lnTo>
                  <a:pt x="6392492" y="4188346"/>
                </a:lnTo>
                <a:lnTo>
                  <a:pt x="6373117" y="4187541"/>
                </a:lnTo>
                <a:lnTo>
                  <a:pt x="6353871" y="4186940"/>
                </a:lnTo>
                <a:lnTo>
                  <a:pt x="6334749" y="4186540"/>
                </a:lnTo>
                <a:lnTo>
                  <a:pt x="6315752" y="4186339"/>
                </a:lnTo>
                <a:lnTo>
                  <a:pt x="6296876" y="4186336"/>
                </a:lnTo>
                <a:lnTo>
                  <a:pt x="6278122" y="4186526"/>
                </a:lnTo>
                <a:lnTo>
                  <a:pt x="6259485" y="4186909"/>
                </a:lnTo>
                <a:lnTo>
                  <a:pt x="6240968" y="4187483"/>
                </a:lnTo>
                <a:lnTo>
                  <a:pt x="6222565" y="4188243"/>
                </a:lnTo>
                <a:lnTo>
                  <a:pt x="6204277" y="4189190"/>
                </a:lnTo>
                <a:lnTo>
                  <a:pt x="6186101" y="4190320"/>
                </a:lnTo>
                <a:lnTo>
                  <a:pt x="6168036" y="4191630"/>
                </a:lnTo>
                <a:lnTo>
                  <a:pt x="6150080" y="4193119"/>
                </a:lnTo>
                <a:lnTo>
                  <a:pt x="6132232" y="4194785"/>
                </a:lnTo>
                <a:lnTo>
                  <a:pt x="6114490" y="4196625"/>
                </a:lnTo>
                <a:lnTo>
                  <a:pt x="6096852" y="4198636"/>
                </a:lnTo>
                <a:lnTo>
                  <a:pt x="6079317" y="4200817"/>
                </a:lnTo>
                <a:lnTo>
                  <a:pt x="6061883" y="4203166"/>
                </a:lnTo>
                <a:lnTo>
                  <a:pt x="6044549" y="4205679"/>
                </a:lnTo>
                <a:lnTo>
                  <a:pt x="6027313" y="4208355"/>
                </a:lnTo>
                <a:lnTo>
                  <a:pt x="6010172" y="4211191"/>
                </a:lnTo>
                <a:lnTo>
                  <a:pt x="5976173" y="4217335"/>
                </a:lnTo>
                <a:lnTo>
                  <a:pt x="5942540" y="4224094"/>
                </a:lnTo>
                <a:lnTo>
                  <a:pt x="5892747" y="4235344"/>
                </a:lnTo>
                <a:lnTo>
                  <a:pt x="5859970" y="4243558"/>
                </a:lnTo>
                <a:lnTo>
                  <a:pt x="5827512" y="4252322"/>
                </a:lnTo>
                <a:lnTo>
                  <a:pt x="5795362" y="4261618"/>
                </a:lnTo>
                <a:lnTo>
                  <a:pt x="5763504" y="4271428"/>
                </a:lnTo>
                <a:lnTo>
                  <a:pt x="5731928" y="4281734"/>
                </a:lnTo>
                <a:lnTo>
                  <a:pt x="5700619" y="4292517"/>
                </a:lnTo>
                <a:lnTo>
                  <a:pt x="5669565" y="4303758"/>
                </a:lnTo>
                <a:lnTo>
                  <a:pt x="5638752" y="4315440"/>
                </a:lnTo>
                <a:lnTo>
                  <a:pt x="5608167" y="4327545"/>
                </a:lnTo>
                <a:lnTo>
                  <a:pt x="5577799" y="4340054"/>
                </a:lnTo>
                <a:lnTo>
                  <a:pt x="5547632" y="4352948"/>
                </a:lnTo>
                <a:lnTo>
                  <a:pt x="5517655" y="4366210"/>
                </a:lnTo>
                <a:lnTo>
                  <a:pt x="5487855" y="4379822"/>
                </a:lnTo>
                <a:lnTo>
                  <a:pt x="5443456" y="4400854"/>
                </a:lnTo>
                <a:lnTo>
                  <a:pt x="5399381" y="4422570"/>
                </a:lnTo>
                <a:lnTo>
                  <a:pt x="5355585" y="4444908"/>
                </a:lnTo>
                <a:lnTo>
                  <a:pt x="5312025" y="4467805"/>
                </a:lnTo>
                <a:lnTo>
                  <a:pt x="5254235" y="4499099"/>
                </a:lnTo>
                <a:lnTo>
                  <a:pt x="5167962" y="4547383"/>
                </a:lnTo>
                <a:lnTo>
                  <a:pt x="4952295" y="4672140"/>
                </a:lnTo>
                <a:lnTo>
                  <a:pt x="4791671" y="4763822"/>
                </a:lnTo>
                <a:lnTo>
                  <a:pt x="4717297" y="4804607"/>
                </a:lnTo>
                <a:lnTo>
                  <a:pt x="4656988" y="4836560"/>
                </a:lnTo>
                <a:lnTo>
                  <a:pt x="4611217" y="4860036"/>
                </a:lnTo>
                <a:lnTo>
                  <a:pt x="4564933" y="4883024"/>
                </a:lnTo>
                <a:lnTo>
                  <a:pt x="4518093" y="4905462"/>
                </a:lnTo>
                <a:lnTo>
                  <a:pt x="4470653" y="4927290"/>
                </a:lnTo>
                <a:lnTo>
                  <a:pt x="4438671" y="4941472"/>
                </a:lnTo>
                <a:lnTo>
                  <a:pt x="4406390" y="4955337"/>
                </a:lnTo>
                <a:lnTo>
                  <a:pt x="4373797" y="4968866"/>
                </a:lnTo>
                <a:lnTo>
                  <a:pt x="4340879" y="4982041"/>
                </a:lnTo>
                <a:lnTo>
                  <a:pt x="4307622" y="4994845"/>
                </a:lnTo>
                <a:lnTo>
                  <a:pt x="4274014" y="5007258"/>
                </a:lnTo>
                <a:lnTo>
                  <a:pt x="4240041" y="5019263"/>
                </a:lnTo>
                <a:lnTo>
                  <a:pt x="4205691" y="5030841"/>
                </a:lnTo>
                <a:lnTo>
                  <a:pt x="4170950" y="5041974"/>
                </a:lnTo>
                <a:lnTo>
                  <a:pt x="4135806" y="5052643"/>
                </a:lnTo>
                <a:lnTo>
                  <a:pt x="4100246" y="5062831"/>
                </a:lnTo>
                <a:lnTo>
                  <a:pt x="4064256" y="5072519"/>
                </a:lnTo>
                <a:lnTo>
                  <a:pt x="4027823" y="5081689"/>
                </a:lnTo>
                <a:lnTo>
                  <a:pt x="3990935" y="5090323"/>
                </a:lnTo>
                <a:lnTo>
                  <a:pt x="3953578" y="5098402"/>
                </a:lnTo>
                <a:lnTo>
                  <a:pt x="3915739" y="5105908"/>
                </a:lnTo>
                <a:lnTo>
                  <a:pt x="3877406" y="5112824"/>
                </a:lnTo>
                <a:lnTo>
                  <a:pt x="3838565" y="5119129"/>
                </a:lnTo>
                <a:lnTo>
                  <a:pt x="3799203" y="5124807"/>
                </a:lnTo>
                <a:lnTo>
                  <a:pt x="3759308" y="5129839"/>
                </a:lnTo>
                <a:lnTo>
                  <a:pt x="3718865" y="5134207"/>
                </a:lnTo>
                <a:lnTo>
                  <a:pt x="3677863" y="5137893"/>
                </a:lnTo>
                <a:lnTo>
                  <a:pt x="3636288" y="5140877"/>
                </a:lnTo>
                <a:lnTo>
                  <a:pt x="3600919" y="5142778"/>
                </a:lnTo>
                <a:lnTo>
                  <a:pt x="0" y="5142778"/>
                </a:lnTo>
                <a:lnTo>
                  <a:pt x="36355" y="5078128"/>
                </a:lnTo>
                <a:lnTo>
                  <a:pt x="85405" y="4991843"/>
                </a:lnTo>
                <a:lnTo>
                  <a:pt x="164324" y="4854690"/>
                </a:lnTo>
                <a:lnTo>
                  <a:pt x="381230" y="4481186"/>
                </a:lnTo>
                <a:lnTo>
                  <a:pt x="439596" y="4379712"/>
                </a:lnTo>
                <a:lnTo>
                  <a:pt x="478157" y="4312042"/>
                </a:lnTo>
                <a:lnTo>
                  <a:pt x="516383" y="4244314"/>
                </a:lnTo>
                <a:lnTo>
                  <a:pt x="544803" y="4193459"/>
                </a:lnTo>
                <a:lnTo>
                  <a:pt x="572987" y="4142538"/>
                </a:lnTo>
                <a:lnTo>
                  <a:pt x="591636" y="4108547"/>
                </a:lnTo>
                <a:lnTo>
                  <a:pt x="610163" y="4074516"/>
                </a:lnTo>
                <a:lnTo>
                  <a:pt x="628565" y="4040440"/>
                </a:lnTo>
                <a:lnTo>
                  <a:pt x="646835" y="4006315"/>
                </a:lnTo>
                <a:lnTo>
                  <a:pt x="664966" y="3972137"/>
                </a:lnTo>
                <a:lnTo>
                  <a:pt x="682954" y="3937902"/>
                </a:lnTo>
                <a:lnTo>
                  <a:pt x="691892" y="3920762"/>
                </a:lnTo>
                <a:lnTo>
                  <a:pt x="700791" y="3903606"/>
                </a:lnTo>
                <a:lnTo>
                  <a:pt x="709652" y="3886433"/>
                </a:lnTo>
                <a:lnTo>
                  <a:pt x="718472" y="3869243"/>
                </a:lnTo>
                <a:lnTo>
                  <a:pt x="727252" y="3852035"/>
                </a:lnTo>
                <a:lnTo>
                  <a:pt x="735991" y="3834810"/>
                </a:lnTo>
                <a:lnTo>
                  <a:pt x="744687" y="3817565"/>
                </a:lnTo>
                <a:lnTo>
                  <a:pt x="753341" y="3800302"/>
                </a:lnTo>
                <a:lnTo>
                  <a:pt x="761951" y="3783019"/>
                </a:lnTo>
                <a:lnTo>
                  <a:pt x="770517" y="3765715"/>
                </a:lnTo>
                <a:lnTo>
                  <a:pt x="779038" y="3748391"/>
                </a:lnTo>
                <a:lnTo>
                  <a:pt x="787512" y="3731046"/>
                </a:lnTo>
                <a:lnTo>
                  <a:pt x="795941" y="3713678"/>
                </a:lnTo>
                <a:lnTo>
                  <a:pt x="804322" y="3696288"/>
                </a:lnTo>
                <a:lnTo>
                  <a:pt x="812655" y="3678875"/>
                </a:lnTo>
                <a:lnTo>
                  <a:pt x="820938" y="3661439"/>
                </a:lnTo>
                <a:lnTo>
                  <a:pt x="829172" y="3643979"/>
                </a:lnTo>
                <a:lnTo>
                  <a:pt x="837357" y="3626494"/>
                </a:lnTo>
                <a:lnTo>
                  <a:pt x="845490" y="3608984"/>
                </a:lnTo>
                <a:lnTo>
                  <a:pt x="853571" y="3591449"/>
                </a:lnTo>
                <a:lnTo>
                  <a:pt x="861599" y="3573886"/>
                </a:lnTo>
                <a:lnTo>
                  <a:pt x="869574" y="3556298"/>
                </a:lnTo>
                <a:lnTo>
                  <a:pt x="877495" y="3538682"/>
                </a:lnTo>
                <a:lnTo>
                  <a:pt x="885361" y="3521039"/>
                </a:lnTo>
                <a:lnTo>
                  <a:pt x="893171" y="3503367"/>
                </a:lnTo>
                <a:lnTo>
                  <a:pt x="900925" y="3485666"/>
                </a:lnTo>
                <a:lnTo>
                  <a:pt x="908622" y="3467936"/>
                </a:lnTo>
                <a:lnTo>
                  <a:pt x="916260" y="3450176"/>
                </a:lnTo>
                <a:lnTo>
                  <a:pt x="923841" y="3432385"/>
                </a:lnTo>
                <a:lnTo>
                  <a:pt x="931361" y="3414563"/>
                </a:lnTo>
                <a:lnTo>
                  <a:pt x="938822" y="3396710"/>
                </a:lnTo>
                <a:lnTo>
                  <a:pt x="946221" y="3378825"/>
                </a:lnTo>
                <a:lnTo>
                  <a:pt x="953559" y="3360907"/>
                </a:lnTo>
                <a:lnTo>
                  <a:pt x="960835" y="3342956"/>
                </a:lnTo>
                <a:lnTo>
                  <a:pt x="968048" y="3324971"/>
                </a:lnTo>
                <a:lnTo>
                  <a:pt x="975195" y="3306952"/>
                </a:lnTo>
                <a:lnTo>
                  <a:pt x="982280" y="3288898"/>
                </a:lnTo>
                <a:lnTo>
                  <a:pt x="989297" y="3270809"/>
                </a:lnTo>
                <a:lnTo>
                  <a:pt x="996250" y="3252684"/>
                </a:lnTo>
                <a:lnTo>
                  <a:pt x="1003136" y="3234522"/>
                </a:lnTo>
                <a:lnTo>
                  <a:pt x="1009953" y="3216324"/>
                </a:lnTo>
                <a:lnTo>
                  <a:pt x="1016702" y="3198088"/>
                </a:lnTo>
                <a:lnTo>
                  <a:pt x="1023381" y="3179814"/>
                </a:lnTo>
                <a:lnTo>
                  <a:pt x="1029991" y="3161502"/>
                </a:lnTo>
                <a:lnTo>
                  <a:pt x="1036530" y="3143151"/>
                </a:lnTo>
                <a:lnTo>
                  <a:pt x="1042998" y="3124759"/>
                </a:lnTo>
                <a:lnTo>
                  <a:pt x="1049393" y="3106328"/>
                </a:lnTo>
                <a:lnTo>
                  <a:pt x="1055715" y="3087856"/>
                </a:lnTo>
                <a:lnTo>
                  <a:pt x="1061964" y="3069343"/>
                </a:lnTo>
                <a:lnTo>
                  <a:pt x="1068138" y="3050788"/>
                </a:lnTo>
                <a:lnTo>
                  <a:pt x="1074237" y="3032191"/>
                </a:lnTo>
                <a:lnTo>
                  <a:pt x="1080260" y="3013551"/>
                </a:lnTo>
                <a:lnTo>
                  <a:pt x="1086206" y="2994867"/>
                </a:lnTo>
                <a:lnTo>
                  <a:pt x="1092075" y="2976140"/>
                </a:lnTo>
                <a:lnTo>
                  <a:pt x="1097865" y="2957368"/>
                </a:lnTo>
                <a:lnTo>
                  <a:pt x="1103577" y="2938551"/>
                </a:lnTo>
                <a:lnTo>
                  <a:pt x="1109208" y="2919688"/>
                </a:lnTo>
                <a:lnTo>
                  <a:pt x="1114759" y="2900780"/>
                </a:lnTo>
                <a:lnTo>
                  <a:pt x="1120228" y="2881825"/>
                </a:lnTo>
                <a:lnTo>
                  <a:pt x="1125617" y="2862822"/>
                </a:lnTo>
                <a:lnTo>
                  <a:pt x="1130921" y="2843773"/>
                </a:lnTo>
                <a:lnTo>
                  <a:pt x="1136143" y="2824674"/>
                </a:lnTo>
                <a:lnTo>
                  <a:pt x="1141280" y="2805527"/>
                </a:lnTo>
                <a:lnTo>
                  <a:pt x="1146332" y="2786331"/>
                </a:lnTo>
                <a:lnTo>
                  <a:pt x="1151298" y="2767085"/>
                </a:lnTo>
                <a:lnTo>
                  <a:pt x="1156178" y="2747788"/>
                </a:lnTo>
                <a:lnTo>
                  <a:pt x="1160971" y="2728441"/>
                </a:lnTo>
                <a:lnTo>
                  <a:pt x="1165675" y="2709042"/>
                </a:lnTo>
                <a:lnTo>
                  <a:pt x="1170290" y="2689591"/>
                </a:lnTo>
                <a:lnTo>
                  <a:pt x="1174816" y="2670087"/>
                </a:lnTo>
                <a:lnTo>
                  <a:pt x="1179252" y="2650531"/>
                </a:lnTo>
                <a:lnTo>
                  <a:pt x="1183597" y="2630921"/>
                </a:lnTo>
                <a:lnTo>
                  <a:pt x="1187850" y="2611257"/>
                </a:lnTo>
                <a:lnTo>
                  <a:pt x="1192010" y="2591538"/>
                </a:lnTo>
                <a:lnTo>
                  <a:pt x="1196077" y="2571764"/>
                </a:lnTo>
                <a:lnTo>
                  <a:pt x="1200049" y="2551934"/>
                </a:lnTo>
                <a:lnTo>
                  <a:pt x="1203927" y="2532048"/>
                </a:lnTo>
                <a:lnTo>
                  <a:pt x="1207710" y="2512105"/>
                </a:lnTo>
                <a:lnTo>
                  <a:pt x="1211395" y="2492104"/>
                </a:lnTo>
                <a:lnTo>
                  <a:pt x="1214985" y="2472046"/>
                </a:lnTo>
                <a:lnTo>
                  <a:pt x="1218476" y="2451929"/>
                </a:lnTo>
                <a:lnTo>
                  <a:pt x="1221868" y="2431753"/>
                </a:lnTo>
                <a:lnTo>
                  <a:pt x="1225161" y="2411518"/>
                </a:lnTo>
                <a:lnTo>
                  <a:pt x="1228353" y="2391223"/>
                </a:lnTo>
                <a:lnTo>
                  <a:pt x="1231446" y="2370867"/>
                </a:lnTo>
                <a:lnTo>
                  <a:pt x="1234436" y="2350449"/>
                </a:lnTo>
                <a:lnTo>
                  <a:pt x="1237324" y="2329971"/>
                </a:lnTo>
                <a:lnTo>
                  <a:pt x="1240109" y="2309430"/>
                </a:lnTo>
                <a:lnTo>
                  <a:pt x="1242790" y="2288826"/>
                </a:lnTo>
                <a:lnTo>
                  <a:pt x="1245366" y="2268159"/>
                </a:lnTo>
                <a:lnTo>
                  <a:pt x="1247837" y="2247428"/>
                </a:lnTo>
                <a:lnTo>
                  <a:pt x="1250202" y="2226633"/>
                </a:lnTo>
                <a:lnTo>
                  <a:pt x="1252460" y="2205773"/>
                </a:lnTo>
                <a:lnTo>
                  <a:pt x="1254610" y="2184847"/>
                </a:lnTo>
                <a:lnTo>
                  <a:pt x="1256651" y="2163856"/>
                </a:lnTo>
                <a:lnTo>
                  <a:pt x="1258584" y="2142798"/>
                </a:lnTo>
                <a:lnTo>
                  <a:pt x="1260407" y="2121673"/>
                </a:lnTo>
                <a:lnTo>
                  <a:pt x="1262119" y="2100480"/>
                </a:lnTo>
                <a:lnTo>
                  <a:pt x="1263719" y="2079219"/>
                </a:lnTo>
                <a:lnTo>
                  <a:pt x="1265207" y="2057890"/>
                </a:lnTo>
                <a:lnTo>
                  <a:pt x="1266583" y="2036492"/>
                </a:lnTo>
                <a:lnTo>
                  <a:pt x="1267845" y="2015023"/>
                </a:lnTo>
                <a:lnTo>
                  <a:pt x="1268992" y="1993484"/>
                </a:lnTo>
                <a:lnTo>
                  <a:pt x="1270024" y="1971875"/>
                </a:lnTo>
                <a:lnTo>
                  <a:pt x="1270940" y="1950194"/>
                </a:lnTo>
                <a:lnTo>
                  <a:pt x="1271740" y="1928441"/>
                </a:lnTo>
                <a:lnTo>
                  <a:pt x="1272422" y="1906616"/>
                </a:lnTo>
                <a:lnTo>
                  <a:pt x="1272986" y="1884718"/>
                </a:lnTo>
                <a:lnTo>
                  <a:pt x="1273430" y="1862747"/>
                </a:lnTo>
                <a:lnTo>
                  <a:pt x="1273755" y="1840700"/>
                </a:lnTo>
                <a:lnTo>
                  <a:pt x="1273961" y="1818581"/>
                </a:lnTo>
                <a:lnTo>
                  <a:pt x="1274005" y="1774114"/>
                </a:lnTo>
                <a:lnTo>
                  <a:pt x="1273844" y="1751767"/>
                </a:lnTo>
                <a:lnTo>
                  <a:pt x="1273558" y="1729342"/>
                </a:lnTo>
                <a:lnTo>
                  <a:pt x="1273150" y="1706841"/>
                </a:lnTo>
                <a:lnTo>
                  <a:pt x="1272616" y="1684263"/>
                </a:lnTo>
                <a:lnTo>
                  <a:pt x="1271956" y="1661605"/>
                </a:lnTo>
                <a:lnTo>
                  <a:pt x="1271170" y="1638868"/>
                </a:lnTo>
                <a:lnTo>
                  <a:pt x="1270256" y="1616053"/>
                </a:lnTo>
                <a:lnTo>
                  <a:pt x="1269215" y="1593157"/>
                </a:lnTo>
                <a:lnTo>
                  <a:pt x="1268044" y="1570181"/>
                </a:lnTo>
                <a:lnTo>
                  <a:pt x="1266744" y="1547124"/>
                </a:lnTo>
                <a:lnTo>
                  <a:pt x="1265314" y="1523985"/>
                </a:lnTo>
                <a:lnTo>
                  <a:pt x="1263753" y="1500764"/>
                </a:lnTo>
                <a:lnTo>
                  <a:pt x="1262060" y="1477461"/>
                </a:lnTo>
                <a:lnTo>
                  <a:pt x="1260234" y="1454074"/>
                </a:lnTo>
                <a:lnTo>
                  <a:pt x="1258276" y="1430604"/>
                </a:lnTo>
                <a:lnTo>
                  <a:pt x="1256182" y="1407049"/>
                </a:lnTo>
                <a:lnTo>
                  <a:pt x="1253955" y="1383410"/>
                </a:lnTo>
                <a:lnTo>
                  <a:pt x="1251592" y="1359685"/>
                </a:lnTo>
                <a:lnTo>
                  <a:pt x="1249092" y="1335873"/>
                </a:lnTo>
                <a:lnTo>
                  <a:pt x="1246456" y="1311977"/>
                </a:lnTo>
                <a:lnTo>
                  <a:pt x="1243681" y="1287992"/>
                </a:lnTo>
                <a:lnTo>
                  <a:pt x="1240769" y="1263921"/>
                </a:lnTo>
                <a:lnTo>
                  <a:pt x="1237716" y="1239761"/>
                </a:lnTo>
                <a:lnTo>
                  <a:pt x="1234524" y="1215513"/>
                </a:lnTo>
                <a:lnTo>
                  <a:pt x="1231190" y="1191176"/>
                </a:lnTo>
                <a:lnTo>
                  <a:pt x="1227715" y="1166749"/>
                </a:lnTo>
                <a:lnTo>
                  <a:pt x="1224099" y="1142232"/>
                </a:lnTo>
                <a:lnTo>
                  <a:pt x="1220339" y="1117624"/>
                </a:lnTo>
                <a:lnTo>
                  <a:pt x="1216434" y="1092925"/>
                </a:lnTo>
                <a:lnTo>
                  <a:pt x="1212386" y="1068134"/>
                </a:lnTo>
                <a:lnTo>
                  <a:pt x="1208192" y="1043251"/>
                </a:lnTo>
                <a:lnTo>
                  <a:pt x="1203852" y="1018274"/>
                </a:lnTo>
                <a:lnTo>
                  <a:pt x="1199365" y="993205"/>
                </a:lnTo>
                <a:lnTo>
                  <a:pt x="1194731" y="968042"/>
                </a:lnTo>
                <a:lnTo>
                  <a:pt x="1189948" y="942784"/>
                </a:lnTo>
                <a:lnTo>
                  <a:pt x="1185016" y="917431"/>
                </a:lnTo>
                <a:lnTo>
                  <a:pt x="1179934" y="891982"/>
                </a:lnTo>
                <a:lnTo>
                  <a:pt x="1174701" y="866438"/>
                </a:lnTo>
                <a:lnTo>
                  <a:pt x="1169317" y="840796"/>
                </a:lnTo>
                <a:lnTo>
                  <a:pt x="1163781" y="815058"/>
                </a:lnTo>
                <a:lnTo>
                  <a:pt x="1158092" y="789222"/>
                </a:lnTo>
                <a:lnTo>
                  <a:pt x="1152249" y="763287"/>
                </a:lnTo>
                <a:lnTo>
                  <a:pt x="1146253" y="737255"/>
                </a:lnTo>
                <a:lnTo>
                  <a:pt x="1140101" y="711122"/>
                </a:lnTo>
                <a:lnTo>
                  <a:pt x="1133793" y="684890"/>
                </a:lnTo>
                <a:lnTo>
                  <a:pt x="1127327" y="658557"/>
                </a:lnTo>
                <a:lnTo>
                  <a:pt x="1120705" y="632123"/>
                </a:lnTo>
                <a:lnTo>
                  <a:pt x="1113925" y="605589"/>
                </a:lnTo>
                <a:lnTo>
                  <a:pt x="1106986" y="578951"/>
                </a:lnTo>
                <a:lnTo>
                  <a:pt x="1099887" y="552212"/>
                </a:lnTo>
                <a:lnTo>
                  <a:pt x="1092628" y="525369"/>
                </a:lnTo>
                <a:lnTo>
                  <a:pt x="1085207" y="498423"/>
                </a:lnTo>
                <a:lnTo>
                  <a:pt x="1077624" y="471372"/>
                </a:lnTo>
                <a:lnTo>
                  <a:pt x="1069880" y="444217"/>
                </a:lnTo>
                <a:lnTo>
                  <a:pt x="1061971" y="416957"/>
                </a:lnTo>
                <a:lnTo>
                  <a:pt x="1053898" y="389591"/>
                </a:lnTo>
                <a:lnTo>
                  <a:pt x="1045660" y="362118"/>
                </a:lnTo>
                <a:lnTo>
                  <a:pt x="1037256" y="334538"/>
                </a:lnTo>
                <a:lnTo>
                  <a:pt x="1028686" y="306852"/>
                </a:lnTo>
                <a:lnTo>
                  <a:pt x="1019950" y="279057"/>
                </a:lnTo>
                <a:lnTo>
                  <a:pt x="1011045" y="251154"/>
                </a:lnTo>
                <a:lnTo>
                  <a:pt x="1001971" y="223142"/>
                </a:lnTo>
                <a:lnTo>
                  <a:pt x="992728" y="195020"/>
                </a:lnTo>
                <a:lnTo>
                  <a:pt x="983314" y="166788"/>
                </a:lnTo>
                <a:lnTo>
                  <a:pt x="973730" y="138446"/>
                </a:lnTo>
                <a:lnTo>
                  <a:pt x="963974" y="109992"/>
                </a:lnTo>
                <a:lnTo>
                  <a:pt x="954045" y="81427"/>
                </a:lnTo>
                <a:lnTo>
                  <a:pt x="943943" y="52750"/>
                </a:lnTo>
                <a:lnTo>
                  <a:pt x="933667" y="23959"/>
                </a:lnTo>
                <a:close/>
              </a:path>
            </a:pathLst>
          </a:custGeom>
          <a:solidFill>
            <a:schemeClr val="accent6"/>
          </a:solidFill>
          <a:ln>
            <a:noFill/>
          </a:ln>
        </p:spPr>
        <p:txBody>
          <a:bodyPr wrap="square">
            <a:noAutofit/>
          </a:bodyPr>
          <a:lstStyle>
            <a:lvl1pPr>
              <a:defRPr>
                <a:solidFill>
                  <a:schemeClr val="accent1"/>
                </a:solidFill>
              </a:defRPr>
            </a:lvl1pPr>
          </a:lstStyle>
          <a:p>
            <a:r>
              <a:rPr lang="en-GB" dirty="0"/>
              <a:t> </a:t>
            </a:r>
          </a:p>
        </p:txBody>
      </p:sp>
      <p:sp>
        <p:nvSpPr>
          <p:cNvPr id="6" name="Text Placeholder 2">
            <a:extLst>
              <a:ext uri="{FF2B5EF4-FFF2-40B4-BE49-F238E27FC236}">
                <a16:creationId xmlns:a16="http://schemas.microsoft.com/office/drawing/2014/main" id="{472E4862-F26F-4BEA-9FEB-DFE15AA4E10A}"/>
              </a:ext>
            </a:extLst>
          </p:cNvPr>
          <p:cNvSpPr>
            <a:spLocks noGrp="1"/>
          </p:cNvSpPr>
          <p:nvPr>
            <p:ph type="body" sz="quarter" idx="15"/>
          </p:nvPr>
        </p:nvSpPr>
        <p:spPr>
          <a:xfrm>
            <a:off x="432000" y="1416001"/>
            <a:ext cx="3456317" cy="328295"/>
          </a:xfrm>
        </p:spPr>
        <p:txBody>
          <a:bodyPr/>
          <a:lstStyle>
            <a:lvl1pPr>
              <a:defRPr sz="2133" b="0">
                <a:solidFill>
                  <a:schemeClr val="tx1"/>
                </a:solidFill>
              </a:defRPr>
            </a:lvl1pPr>
            <a:lvl2pPr>
              <a:defRPr sz="1940"/>
            </a:lvl2pPr>
            <a:lvl3pPr marL="0" indent="0">
              <a:buNone/>
              <a:defRPr sz="1940"/>
            </a:lvl3pPr>
            <a:lvl4pPr>
              <a:defRPr sz="1940"/>
            </a:lvl4pPr>
            <a:lvl5pPr>
              <a:defRPr sz="1940"/>
            </a:lvl5pPr>
          </a:lstStyle>
          <a:p>
            <a:pPr lvl="0"/>
            <a:r>
              <a:rPr lang="en-US"/>
              <a:t>Edit Master text styles</a:t>
            </a:r>
          </a:p>
        </p:txBody>
      </p:sp>
      <p:sp>
        <p:nvSpPr>
          <p:cNvPr id="10" name="Round Diagonal Corner Rectangle 4">
            <a:extLst>
              <a:ext uri="{FF2B5EF4-FFF2-40B4-BE49-F238E27FC236}">
                <a16:creationId xmlns:a16="http://schemas.microsoft.com/office/drawing/2014/main" id="{B1508920-DE1E-4600-ABEC-66488997A7F2}"/>
              </a:ext>
            </a:extLst>
          </p:cNvPr>
          <p:cNvSpPr/>
          <p:nvPr userDrawn="1"/>
        </p:nvSpPr>
        <p:spPr>
          <a:xfrm>
            <a:off x="12514257" y="-2970"/>
            <a:ext cx="2576459" cy="359469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48000" tIns="48000" rIns="48000" bIns="48000" rtlCol="0" anchor="t" anchorCtr="0">
            <a:spAutoFit/>
          </a:bodyPr>
          <a:lstStyle/>
          <a:p>
            <a:pPr>
              <a:spcAft>
                <a:spcPts val="136"/>
              </a:spcAft>
            </a:pPr>
            <a:r>
              <a:rPr lang="en-GB" sz="849" b="1" noProof="0" dirty="0">
                <a:solidFill>
                  <a:schemeClr val="bg1">
                    <a:lumMod val="50000"/>
                  </a:schemeClr>
                </a:solidFill>
              </a:rPr>
              <a:t>Image placeholders</a:t>
            </a:r>
          </a:p>
          <a:p>
            <a:pPr marL="0" lvl="1" indent="0">
              <a:spcAft>
                <a:spcPts val="132"/>
              </a:spcAft>
            </a:pPr>
            <a:r>
              <a:rPr lang="en-GB" sz="849" noProof="0" dirty="0">
                <a:solidFill>
                  <a:schemeClr val="bg1">
                    <a:lumMod val="50000"/>
                  </a:schemeClr>
                </a:solidFill>
              </a:rPr>
              <a:t>This layout is set with a picture placeholder. The front cover image should always be in the cut out style or a plain yellow background</a:t>
            </a:r>
          </a:p>
          <a:p>
            <a:pPr marL="0" lvl="1" indent="0">
              <a:spcAft>
                <a:spcPts val="132"/>
              </a:spcAft>
            </a:pPr>
            <a:r>
              <a:rPr lang="en-GB" sz="849" b="1" noProof="0" dirty="0">
                <a:solidFill>
                  <a:schemeClr val="bg1">
                    <a:lumMod val="50000"/>
                  </a:schemeClr>
                </a:solidFill>
              </a:rPr>
              <a:t>Chang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Click on th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delet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Go to the Image Library</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image and ‘insert’</a:t>
            </a:r>
          </a:p>
          <a:p>
            <a:pPr marL="0" lvl="2" indent="0">
              <a:spcAft>
                <a:spcPts val="132"/>
              </a:spcAft>
              <a:buFontTx/>
              <a:buNone/>
            </a:pPr>
            <a:r>
              <a:rPr lang="en-GB" sz="849" noProof="0" dirty="0">
                <a:solidFill>
                  <a:schemeClr val="bg1">
                    <a:lumMod val="50000"/>
                  </a:schemeClr>
                </a:solidFill>
              </a:rPr>
              <a:t>When you have reset the slide the image may need readjusting</a:t>
            </a:r>
          </a:p>
          <a:p>
            <a:pPr marL="0" lvl="1" indent="0">
              <a:spcAft>
                <a:spcPts val="132"/>
              </a:spcAft>
            </a:pPr>
            <a:r>
              <a:rPr lang="en-GB" sz="849" b="1" noProof="0" dirty="0">
                <a:solidFill>
                  <a:schemeClr val="bg1">
                    <a:lumMod val="50000"/>
                  </a:schemeClr>
                </a:solidFill>
              </a:rPr>
              <a:t>Insert image</a:t>
            </a:r>
          </a:p>
          <a:p>
            <a:pPr marL="0" lvl="1" indent="0">
              <a:spcAft>
                <a:spcPts val="132"/>
              </a:spcAft>
            </a:pPr>
            <a:r>
              <a:rPr lang="en-GB" sz="849" noProof="0" dirty="0">
                <a:solidFill>
                  <a:schemeClr val="bg1">
                    <a:lumMod val="50000"/>
                  </a:schemeClr>
                </a:solidFill>
              </a:rPr>
              <a:t>To insert an image click on the ‘picture placeholder icon’, navigate to the file and insert.</a:t>
            </a:r>
          </a:p>
          <a:p>
            <a:pPr>
              <a:spcAft>
                <a:spcPts val="132"/>
              </a:spcAft>
            </a:pPr>
            <a:r>
              <a:rPr lang="en-GB" sz="849" b="1" noProof="0" dirty="0">
                <a:solidFill>
                  <a:schemeClr val="bg1">
                    <a:lumMod val="50000"/>
                  </a:schemeClr>
                </a:solidFill>
              </a:rPr>
              <a:t>Crop image</a:t>
            </a:r>
          </a:p>
          <a:p>
            <a:pPr marL="0" lvl="1" indent="0">
              <a:spcAft>
                <a:spcPts val="132"/>
              </a:spcAft>
            </a:pPr>
            <a:r>
              <a:rPr lang="en-GB" sz="849" noProof="0" dirty="0">
                <a:solidFill>
                  <a:schemeClr val="bg1">
                    <a:lumMod val="50000"/>
                  </a:schemeClr>
                </a:solidFill>
              </a:rPr>
              <a:t>When the image is inserted it may not automatically show the part of the image you want. To change what is shown:</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th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Go to ‘Format’ tab</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Crop’</a:t>
            </a:r>
          </a:p>
          <a:p>
            <a:pPr marL="0" indent="0">
              <a:spcAft>
                <a:spcPts val="136"/>
              </a:spcAft>
              <a:buFont typeface="Arial" pitchFamily="34" charset="0"/>
              <a:buNone/>
            </a:pPr>
            <a:r>
              <a:rPr lang="en-GB" sz="849" b="1" noProof="0" dirty="0">
                <a:solidFill>
                  <a:schemeClr val="bg1">
                    <a:lumMod val="50000"/>
                  </a:schemeClr>
                </a:solidFill>
              </a:rPr>
              <a:t>Image library</a:t>
            </a:r>
          </a:p>
          <a:p>
            <a:pPr marL="0" indent="0" algn="l" defTabSz="316779" rtl="0" fontAlgn="base">
              <a:spcBef>
                <a:spcPct val="0"/>
              </a:spcBef>
              <a:spcAft>
                <a:spcPts val="136"/>
              </a:spcAft>
              <a:buFont typeface="Arial" pitchFamily="34" charset="0"/>
              <a:buNone/>
            </a:pPr>
            <a:r>
              <a:rPr lang="en-GB" sz="849" kern="1200" noProof="0" dirty="0">
                <a:solidFill>
                  <a:schemeClr val="bg1">
                    <a:lumMod val="50000"/>
                  </a:schemeClr>
                </a:solidFill>
                <a:latin typeface="+mn-lt"/>
                <a:ea typeface="+mn-ea"/>
                <a:cs typeface="+mn-cs"/>
              </a:rPr>
              <a:t>To access the image library, please log into</a:t>
            </a:r>
          </a:p>
          <a:p>
            <a:pPr marL="0" indent="0" algn="l" defTabSz="316779" rtl="0" fontAlgn="base">
              <a:spcBef>
                <a:spcPct val="0"/>
              </a:spcBef>
              <a:spcAft>
                <a:spcPts val="136"/>
              </a:spcAft>
              <a:buFont typeface="Arial" pitchFamily="34" charset="0"/>
              <a:buNone/>
            </a:pPr>
            <a:endParaRPr lang="en-GB" sz="849" kern="1200" noProof="0" dirty="0">
              <a:solidFill>
                <a:schemeClr val="bg1">
                  <a:lumMod val="50000"/>
                </a:schemeClr>
              </a:solidFill>
              <a:latin typeface="+mn-lt"/>
              <a:ea typeface="+mn-ea"/>
              <a:cs typeface="+mn-cs"/>
            </a:endParaRPr>
          </a:p>
          <a:p>
            <a:pPr>
              <a:spcAft>
                <a:spcPts val="136"/>
              </a:spcAft>
            </a:pPr>
            <a:endParaRPr lang="en-GB" sz="849" kern="1200" noProof="0" dirty="0">
              <a:solidFill>
                <a:schemeClr val="bg1">
                  <a:lumMod val="50000"/>
                </a:schemeClr>
              </a:solidFill>
              <a:latin typeface="+mn-lt"/>
              <a:ea typeface="+mn-ea"/>
              <a:cs typeface="+mn-cs"/>
            </a:endParaRPr>
          </a:p>
        </p:txBody>
      </p:sp>
      <p:sp>
        <p:nvSpPr>
          <p:cNvPr id="12" name="Rectangle 11">
            <a:hlinkClick r:id="rId2"/>
            <a:extLst>
              <a:ext uri="{FF2B5EF4-FFF2-40B4-BE49-F238E27FC236}">
                <a16:creationId xmlns:a16="http://schemas.microsoft.com/office/drawing/2014/main" id="{5CCFFF65-EF68-45FF-A126-7B581810B374}"/>
              </a:ext>
            </a:extLst>
          </p:cNvPr>
          <p:cNvSpPr/>
          <p:nvPr userDrawn="1"/>
        </p:nvSpPr>
        <p:spPr>
          <a:xfrm>
            <a:off x="12558954" y="3394312"/>
            <a:ext cx="2336116" cy="130677"/>
          </a:xfrm>
          <a:prstGeom prst="rect">
            <a:avLst/>
          </a:prstGeom>
          <a:noFill/>
        </p:spPr>
        <p:txBody>
          <a:bodyPr wrap="square" lIns="0" tIns="0" rIns="0" bIns="0" rtlCol="0" anchor="ctr">
            <a:spAutoFit/>
          </a:bodyPr>
          <a:lstStyle/>
          <a:p>
            <a:r>
              <a:rPr lang="en-GB" sz="849" dirty="0">
                <a:cs typeface="Arial" panose="020B0604020202020204" pitchFamily="34" charset="0"/>
              </a:rPr>
              <a:t>https://nationalgrid.onbrandcloud.com/login/</a:t>
            </a:r>
          </a:p>
        </p:txBody>
      </p:sp>
      <p:pic>
        <p:nvPicPr>
          <p:cNvPr id="8" name="Picture 7">
            <a:extLst>
              <a:ext uri="{FF2B5EF4-FFF2-40B4-BE49-F238E27FC236}">
                <a16:creationId xmlns:a16="http://schemas.microsoft.com/office/drawing/2014/main" id="{A4694E5B-8288-4F85-9F48-AF84A3810CE6}"/>
              </a:ext>
            </a:extLst>
          </p:cNvPr>
          <p:cNvPicPr>
            <a:picLocks noChangeAspect="1"/>
          </p:cNvPicPr>
          <p:nvPr userDrawn="1"/>
        </p:nvPicPr>
        <p:blipFill>
          <a:blip r:embed="rId3"/>
          <a:stretch>
            <a:fillRect/>
          </a:stretch>
        </p:blipFill>
        <p:spPr>
          <a:xfrm>
            <a:off x="9965223" y="6237768"/>
            <a:ext cx="1794176" cy="268024"/>
          </a:xfrm>
          <a:prstGeom prst="rect">
            <a:avLst/>
          </a:prstGeom>
        </p:spPr>
      </p:pic>
      <p:sp>
        <p:nvSpPr>
          <p:cNvPr id="3" name="Title 2">
            <a:extLst>
              <a:ext uri="{FF2B5EF4-FFF2-40B4-BE49-F238E27FC236}">
                <a16:creationId xmlns:a16="http://schemas.microsoft.com/office/drawing/2014/main" id="{3E108CA2-B250-42BE-9D56-C09CE2724843}"/>
              </a:ext>
            </a:extLst>
          </p:cNvPr>
          <p:cNvSpPr>
            <a:spLocks noGrp="1"/>
          </p:cNvSpPr>
          <p:nvPr>
            <p:ph type="title"/>
          </p:nvPr>
        </p:nvSpPr>
        <p:spPr>
          <a:xfrm>
            <a:off x="431402" y="441140"/>
            <a:ext cx="3456917" cy="393955"/>
          </a:xfrm>
        </p:spPr>
        <p:txBody>
          <a:bodyPr/>
          <a:lstStyle/>
          <a:p>
            <a:r>
              <a:rPr lang="en-US"/>
              <a:t>Click to edit Master title style</a:t>
            </a:r>
            <a:endParaRPr lang="en-GB"/>
          </a:p>
        </p:txBody>
      </p:sp>
    </p:spTree>
    <p:extLst>
      <p:ext uri="{BB962C8B-B14F-4D97-AF65-F5344CB8AC3E}">
        <p14:creationId xmlns:p14="http://schemas.microsoft.com/office/powerpoint/2010/main" val="1932955761"/>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Key message righ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B576D51F-52D4-4DC0-8A7D-6D12557F5F23}"/>
              </a:ext>
            </a:extLst>
          </p:cNvPr>
          <p:cNvSpPr>
            <a:spLocks noGrp="1"/>
          </p:cNvSpPr>
          <p:nvPr>
            <p:ph type="pic" sz="quarter" idx="16" hasCustomPrompt="1"/>
          </p:nvPr>
        </p:nvSpPr>
        <p:spPr>
          <a:xfrm>
            <a:off x="-8119" y="0"/>
            <a:ext cx="9480900" cy="6857037"/>
          </a:xfrm>
          <a:custGeom>
            <a:avLst/>
            <a:gdLst>
              <a:gd name="connsiteX0" fmla="*/ 0 w 15633609"/>
              <a:gd name="connsiteY0" fmla="*/ 0 h 11307763"/>
              <a:gd name="connsiteX1" fmla="*/ 13600449 w 15633609"/>
              <a:gd name="connsiteY1" fmla="*/ 0 h 11307763"/>
              <a:gd name="connsiteX2" fmla="*/ 13581182 w 15633609"/>
              <a:gd name="connsiteY2" fmla="*/ 53290 h 11307763"/>
              <a:gd name="connsiteX3" fmla="*/ 13558589 w 15633609"/>
              <a:gd name="connsiteY3" fmla="*/ 116593 h 11307763"/>
              <a:gd name="connsiteX4" fmla="*/ 13536379 w 15633609"/>
              <a:gd name="connsiteY4" fmla="*/ 179648 h 11307763"/>
              <a:gd name="connsiteX5" fmla="*/ 13514550 w 15633609"/>
              <a:gd name="connsiteY5" fmla="*/ 242456 h 11307763"/>
              <a:gd name="connsiteX6" fmla="*/ 13493100 w 15633609"/>
              <a:gd name="connsiteY6" fmla="*/ 305018 h 11307763"/>
              <a:gd name="connsiteX7" fmla="*/ 13472027 w 15633609"/>
              <a:gd name="connsiteY7" fmla="*/ 367337 h 11307763"/>
              <a:gd name="connsiteX8" fmla="*/ 13451330 w 15633609"/>
              <a:gd name="connsiteY8" fmla="*/ 429411 h 11307763"/>
              <a:gd name="connsiteX9" fmla="*/ 13431008 w 15633609"/>
              <a:gd name="connsiteY9" fmla="*/ 491244 h 11307763"/>
              <a:gd name="connsiteX10" fmla="*/ 13411058 w 15633609"/>
              <a:gd name="connsiteY10" fmla="*/ 552836 h 11307763"/>
              <a:gd name="connsiteX11" fmla="*/ 13391480 w 15633609"/>
              <a:gd name="connsiteY11" fmla="*/ 614189 h 11307763"/>
              <a:gd name="connsiteX12" fmla="*/ 13372270 w 15633609"/>
              <a:gd name="connsiteY12" fmla="*/ 675303 h 11307763"/>
              <a:gd name="connsiteX13" fmla="*/ 13353428 w 15633609"/>
              <a:gd name="connsiteY13" fmla="*/ 736179 h 11307763"/>
              <a:gd name="connsiteX14" fmla="*/ 13334952 w 15633609"/>
              <a:gd name="connsiteY14" fmla="*/ 796820 h 11307763"/>
              <a:gd name="connsiteX15" fmla="*/ 13316841 w 15633609"/>
              <a:gd name="connsiteY15" fmla="*/ 857225 h 11307763"/>
              <a:gd name="connsiteX16" fmla="*/ 13299092 w 15633609"/>
              <a:gd name="connsiteY16" fmla="*/ 917397 h 11307763"/>
              <a:gd name="connsiteX17" fmla="*/ 13281704 w 15633609"/>
              <a:gd name="connsiteY17" fmla="*/ 977336 h 11307763"/>
              <a:gd name="connsiteX18" fmla="*/ 13264675 w 15633609"/>
              <a:gd name="connsiteY18" fmla="*/ 1037044 h 11307763"/>
              <a:gd name="connsiteX19" fmla="*/ 13248005 w 15633609"/>
              <a:gd name="connsiteY19" fmla="*/ 1096522 h 11307763"/>
              <a:gd name="connsiteX20" fmla="*/ 13231690 w 15633609"/>
              <a:gd name="connsiteY20" fmla="*/ 1155770 h 11307763"/>
              <a:gd name="connsiteX21" fmla="*/ 13215729 w 15633609"/>
              <a:gd name="connsiteY21" fmla="*/ 1214791 h 11307763"/>
              <a:gd name="connsiteX22" fmla="*/ 13200122 w 15633609"/>
              <a:gd name="connsiteY22" fmla="*/ 1273585 h 11307763"/>
              <a:gd name="connsiteX23" fmla="*/ 13184865 w 15633609"/>
              <a:gd name="connsiteY23" fmla="*/ 1332154 h 11307763"/>
              <a:gd name="connsiteX24" fmla="*/ 13169958 w 15633609"/>
              <a:gd name="connsiteY24" fmla="*/ 1390498 h 11307763"/>
              <a:gd name="connsiteX25" fmla="*/ 13155398 w 15633609"/>
              <a:gd name="connsiteY25" fmla="*/ 1448619 h 11307763"/>
              <a:gd name="connsiteX26" fmla="*/ 13141185 w 15633609"/>
              <a:gd name="connsiteY26" fmla="*/ 1506519 h 11307763"/>
              <a:gd name="connsiteX27" fmla="*/ 13127316 w 15633609"/>
              <a:gd name="connsiteY27" fmla="*/ 1564197 h 11307763"/>
              <a:gd name="connsiteX28" fmla="*/ 13113790 w 15633609"/>
              <a:gd name="connsiteY28" fmla="*/ 1621656 h 11307763"/>
              <a:gd name="connsiteX29" fmla="*/ 13100605 w 15633609"/>
              <a:gd name="connsiteY29" fmla="*/ 1678897 h 11307763"/>
              <a:gd name="connsiteX30" fmla="*/ 13087759 w 15633609"/>
              <a:gd name="connsiteY30" fmla="*/ 1735920 h 11307763"/>
              <a:gd name="connsiteX31" fmla="*/ 13075251 w 15633609"/>
              <a:gd name="connsiteY31" fmla="*/ 1792727 h 11307763"/>
              <a:gd name="connsiteX32" fmla="*/ 13063080 w 15633609"/>
              <a:gd name="connsiteY32" fmla="*/ 1849320 h 11307763"/>
              <a:gd name="connsiteX33" fmla="*/ 13051242 w 15633609"/>
              <a:gd name="connsiteY33" fmla="*/ 1905699 h 11307763"/>
              <a:gd name="connsiteX34" fmla="*/ 13039738 w 15633609"/>
              <a:gd name="connsiteY34" fmla="*/ 1961865 h 11307763"/>
              <a:gd name="connsiteX35" fmla="*/ 13028565 w 15633609"/>
              <a:gd name="connsiteY35" fmla="*/ 2017820 h 11307763"/>
              <a:gd name="connsiteX36" fmla="*/ 13017721 w 15633609"/>
              <a:gd name="connsiteY36" fmla="*/ 2073565 h 11307763"/>
              <a:gd name="connsiteX37" fmla="*/ 13007205 w 15633609"/>
              <a:gd name="connsiteY37" fmla="*/ 2129101 h 11307763"/>
              <a:gd name="connsiteX38" fmla="*/ 12997016 w 15633609"/>
              <a:gd name="connsiteY38" fmla="*/ 2184430 h 11307763"/>
              <a:gd name="connsiteX39" fmla="*/ 12987151 w 15633609"/>
              <a:gd name="connsiteY39" fmla="*/ 2239551 h 11307763"/>
              <a:gd name="connsiteX40" fmla="*/ 12977609 w 15633609"/>
              <a:gd name="connsiteY40" fmla="*/ 2294468 h 11307763"/>
              <a:gd name="connsiteX41" fmla="*/ 12968388 w 15633609"/>
              <a:gd name="connsiteY41" fmla="*/ 2349180 h 11307763"/>
              <a:gd name="connsiteX42" fmla="*/ 12959486 w 15633609"/>
              <a:gd name="connsiteY42" fmla="*/ 2403689 h 11307763"/>
              <a:gd name="connsiteX43" fmla="*/ 12950903 w 15633609"/>
              <a:gd name="connsiteY43" fmla="*/ 2457997 h 11307763"/>
              <a:gd name="connsiteX44" fmla="*/ 12942636 w 15633609"/>
              <a:gd name="connsiteY44" fmla="*/ 2512103 h 11307763"/>
              <a:gd name="connsiteX45" fmla="*/ 12934683 w 15633609"/>
              <a:gd name="connsiteY45" fmla="*/ 2566011 h 11307763"/>
              <a:gd name="connsiteX46" fmla="*/ 12927044 w 15633609"/>
              <a:gd name="connsiteY46" fmla="*/ 2619720 h 11307763"/>
              <a:gd name="connsiteX47" fmla="*/ 12919715 w 15633609"/>
              <a:gd name="connsiteY47" fmla="*/ 2673232 h 11307763"/>
              <a:gd name="connsiteX48" fmla="*/ 12912696 w 15633609"/>
              <a:gd name="connsiteY48" fmla="*/ 2726548 h 11307763"/>
              <a:gd name="connsiteX49" fmla="*/ 12905986 w 15633609"/>
              <a:gd name="connsiteY49" fmla="*/ 2779669 h 11307763"/>
              <a:gd name="connsiteX50" fmla="*/ 12899581 w 15633609"/>
              <a:gd name="connsiteY50" fmla="*/ 2832597 h 11307763"/>
              <a:gd name="connsiteX51" fmla="*/ 12893481 w 15633609"/>
              <a:gd name="connsiteY51" fmla="*/ 2885332 h 11307763"/>
              <a:gd name="connsiteX52" fmla="*/ 12887685 w 15633609"/>
              <a:gd name="connsiteY52" fmla="*/ 2937876 h 11307763"/>
              <a:gd name="connsiteX53" fmla="*/ 12882189 w 15633609"/>
              <a:gd name="connsiteY53" fmla="*/ 2990230 h 11307763"/>
              <a:gd name="connsiteX54" fmla="*/ 12876994 w 15633609"/>
              <a:gd name="connsiteY54" fmla="*/ 3042396 h 11307763"/>
              <a:gd name="connsiteX55" fmla="*/ 12872096 w 15633609"/>
              <a:gd name="connsiteY55" fmla="*/ 3094373 h 11307763"/>
              <a:gd name="connsiteX56" fmla="*/ 12867494 w 15633609"/>
              <a:gd name="connsiteY56" fmla="*/ 3146165 h 11307763"/>
              <a:gd name="connsiteX57" fmla="*/ 12863188 w 15633609"/>
              <a:gd name="connsiteY57" fmla="*/ 3197771 h 11307763"/>
              <a:gd name="connsiteX58" fmla="*/ 12859174 w 15633609"/>
              <a:gd name="connsiteY58" fmla="*/ 3249192 h 11307763"/>
              <a:gd name="connsiteX59" fmla="*/ 12855452 w 15633609"/>
              <a:gd name="connsiteY59" fmla="*/ 3300431 h 11307763"/>
              <a:gd name="connsiteX60" fmla="*/ 12852020 w 15633609"/>
              <a:gd name="connsiteY60" fmla="*/ 3351489 h 11307763"/>
              <a:gd name="connsiteX61" fmla="*/ 12848875 w 15633609"/>
              <a:gd name="connsiteY61" fmla="*/ 3402365 h 11307763"/>
              <a:gd name="connsiteX62" fmla="*/ 12846017 w 15633609"/>
              <a:gd name="connsiteY62" fmla="*/ 3453063 h 11307763"/>
              <a:gd name="connsiteX63" fmla="*/ 12843444 w 15633609"/>
              <a:gd name="connsiteY63" fmla="*/ 3503582 h 11307763"/>
              <a:gd name="connsiteX64" fmla="*/ 12841154 w 15633609"/>
              <a:gd name="connsiteY64" fmla="*/ 3553924 h 11307763"/>
              <a:gd name="connsiteX65" fmla="*/ 12839145 w 15633609"/>
              <a:gd name="connsiteY65" fmla="*/ 3604090 h 11307763"/>
              <a:gd name="connsiteX66" fmla="*/ 12837417 w 15633609"/>
              <a:gd name="connsiteY66" fmla="*/ 3654082 h 11307763"/>
              <a:gd name="connsiteX67" fmla="*/ 12835966 w 15633609"/>
              <a:gd name="connsiteY67" fmla="*/ 3703900 h 11307763"/>
              <a:gd name="connsiteX68" fmla="*/ 12834792 w 15633609"/>
              <a:gd name="connsiteY68" fmla="*/ 3753546 h 11307763"/>
              <a:gd name="connsiteX69" fmla="*/ 12833892 w 15633609"/>
              <a:gd name="connsiteY69" fmla="*/ 3803021 h 11307763"/>
              <a:gd name="connsiteX70" fmla="*/ 12833266 w 15633609"/>
              <a:gd name="connsiteY70" fmla="*/ 3852326 h 11307763"/>
              <a:gd name="connsiteX71" fmla="*/ 12832911 w 15633609"/>
              <a:gd name="connsiteY71" fmla="*/ 3901463 h 11307763"/>
              <a:gd name="connsiteX72" fmla="*/ 12832827 w 15633609"/>
              <a:gd name="connsiteY72" fmla="*/ 3950432 h 11307763"/>
              <a:gd name="connsiteX73" fmla="*/ 12833010 w 15633609"/>
              <a:gd name="connsiteY73" fmla="*/ 3999234 h 11307763"/>
              <a:gd name="connsiteX74" fmla="*/ 12833460 w 15633609"/>
              <a:gd name="connsiteY74" fmla="*/ 4047871 h 11307763"/>
              <a:gd name="connsiteX75" fmla="*/ 12834174 w 15633609"/>
              <a:gd name="connsiteY75" fmla="*/ 4096344 h 11307763"/>
              <a:gd name="connsiteX76" fmla="*/ 12835152 w 15633609"/>
              <a:gd name="connsiteY76" fmla="*/ 4144655 h 11307763"/>
              <a:gd name="connsiteX77" fmla="*/ 12836392 w 15633609"/>
              <a:gd name="connsiteY77" fmla="*/ 4192804 h 11307763"/>
              <a:gd name="connsiteX78" fmla="*/ 12837891 w 15633609"/>
              <a:gd name="connsiteY78" fmla="*/ 4240792 h 11307763"/>
              <a:gd name="connsiteX79" fmla="*/ 12839649 w 15633609"/>
              <a:gd name="connsiteY79" fmla="*/ 4288621 h 11307763"/>
              <a:gd name="connsiteX80" fmla="*/ 12841663 w 15633609"/>
              <a:gd name="connsiteY80" fmla="*/ 4336292 h 11307763"/>
              <a:gd name="connsiteX81" fmla="*/ 12843933 w 15633609"/>
              <a:gd name="connsiteY81" fmla="*/ 4383807 h 11307763"/>
              <a:gd name="connsiteX82" fmla="*/ 12846455 w 15633609"/>
              <a:gd name="connsiteY82" fmla="*/ 4431165 h 11307763"/>
              <a:gd name="connsiteX83" fmla="*/ 12849229 w 15633609"/>
              <a:gd name="connsiteY83" fmla="*/ 4478369 h 11307763"/>
              <a:gd name="connsiteX84" fmla="*/ 12852253 w 15633609"/>
              <a:gd name="connsiteY84" fmla="*/ 4525420 h 11307763"/>
              <a:gd name="connsiteX85" fmla="*/ 12855526 w 15633609"/>
              <a:gd name="connsiteY85" fmla="*/ 4572318 h 11307763"/>
              <a:gd name="connsiteX86" fmla="*/ 12859045 w 15633609"/>
              <a:gd name="connsiteY86" fmla="*/ 4619066 h 11307763"/>
              <a:gd name="connsiteX87" fmla="*/ 12862809 w 15633609"/>
              <a:gd name="connsiteY87" fmla="*/ 4665663 h 11307763"/>
              <a:gd name="connsiteX88" fmla="*/ 12866816 w 15633609"/>
              <a:gd name="connsiteY88" fmla="*/ 4712112 h 11307763"/>
              <a:gd name="connsiteX89" fmla="*/ 12871065 w 15633609"/>
              <a:gd name="connsiteY89" fmla="*/ 4758414 h 11307763"/>
              <a:gd name="connsiteX90" fmla="*/ 12875554 w 15633609"/>
              <a:gd name="connsiteY90" fmla="*/ 4804569 h 11307763"/>
              <a:gd name="connsiteX91" fmla="*/ 12880282 w 15633609"/>
              <a:gd name="connsiteY91" fmla="*/ 4850580 h 11307763"/>
              <a:gd name="connsiteX92" fmla="*/ 12885246 w 15633609"/>
              <a:gd name="connsiteY92" fmla="*/ 4896446 h 11307763"/>
              <a:gd name="connsiteX93" fmla="*/ 12890445 w 15633609"/>
              <a:gd name="connsiteY93" fmla="*/ 4942170 h 11307763"/>
              <a:gd name="connsiteX94" fmla="*/ 12895878 w 15633609"/>
              <a:gd name="connsiteY94" fmla="*/ 4987752 h 11307763"/>
              <a:gd name="connsiteX95" fmla="*/ 12901542 w 15633609"/>
              <a:gd name="connsiteY95" fmla="*/ 5033194 h 11307763"/>
              <a:gd name="connsiteX96" fmla="*/ 12907436 w 15633609"/>
              <a:gd name="connsiteY96" fmla="*/ 5078497 h 11307763"/>
              <a:gd name="connsiteX97" fmla="*/ 12913559 w 15633609"/>
              <a:gd name="connsiteY97" fmla="*/ 5123661 h 11307763"/>
              <a:gd name="connsiteX98" fmla="*/ 12919909 w 15633609"/>
              <a:gd name="connsiteY98" fmla="*/ 5168689 h 11307763"/>
              <a:gd name="connsiteX99" fmla="*/ 12926483 w 15633609"/>
              <a:gd name="connsiteY99" fmla="*/ 5213582 h 11307763"/>
              <a:gd name="connsiteX100" fmla="*/ 12933281 w 15633609"/>
              <a:gd name="connsiteY100" fmla="*/ 5258339 h 11307763"/>
              <a:gd name="connsiteX101" fmla="*/ 12940301 w 15633609"/>
              <a:gd name="connsiteY101" fmla="*/ 5302964 h 11307763"/>
              <a:gd name="connsiteX102" fmla="*/ 12947541 w 15633609"/>
              <a:gd name="connsiteY102" fmla="*/ 5347457 h 11307763"/>
              <a:gd name="connsiteX103" fmla="*/ 12955000 w 15633609"/>
              <a:gd name="connsiteY103" fmla="*/ 5391819 h 11307763"/>
              <a:gd name="connsiteX104" fmla="*/ 12962675 w 15633609"/>
              <a:gd name="connsiteY104" fmla="*/ 5436051 h 11307763"/>
              <a:gd name="connsiteX105" fmla="*/ 12970566 w 15633609"/>
              <a:gd name="connsiteY105" fmla="*/ 5480154 h 11307763"/>
              <a:gd name="connsiteX106" fmla="*/ 12978669 w 15633609"/>
              <a:gd name="connsiteY106" fmla="*/ 5524130 h 11307763"/>
              <a:gd name="connsiteX107" fmla="*/ 12986985 w 15633609"/>
              <a:gd name="connsiteY107" fmla="*/ 5567980 h 11307763"/>
              <a:gd name="connsiteX108" fmla="*/ 12995511 w 15633609"/>
              <a:gd name="connsiteY108" fmla="*/ 5611705 h 11307763"/>
              <a:gd name="connsiteX109" fmla="*/ 13004246 w 15633609"/>
              <a:gd name="connsiteY109" fmla="*/ 5655307 h 11307763"/>
              <a:gd name="connsiteX110" fmla="*/ 13013187 w 15633609"/>
              <a:gd name="connsiteY110" fmla="*/ 5698785 h 11307763"/>
              <a:gd name="connsiteX111" fmla="*/ 13022334 w 15633609"/>
              <a:gd name="connsiteY111" fmla="*/ 5742143 h 11307763"/>
              <a:gd name="connsiteX112" fmla="*/ 13031684 w 15633609"/>
              <a:gd name="connsiteY112" fmla="*/ 5785380 h 11307763"/>
              <a:gd name="connsiteX113" fmla="*/ 13041236 w 15633609"/>
              <a:gd name="connsiteY113" fmla="*/ 5828498 h 11307763"/>
              <a:gd name="connsiteX114" fmla="*/ 13050988 w 15633609"/>
              <a:gd name="connsiteY114" fmla="*/ 5871498 h 11307763"/>
              <a:gd name="connsiteX115" fmla="*/ 13060939 w 15633609"/>
              <a:gd name="connsiteY115" fmla="*/ 5914381 h 11307763"/>
              <a:gd name="connsiteX116" fmla="*/ 13071087 w 15633609"/>
              <a:gd name="connsiteY116" fmla="*/ 5957149 h 11307763"/>
              <a:gd name="connsiteX117" fmla="*/ 13081430 w 15633609"/>
              <a:gd name="connsiteY117" fmla="*/ 5999803 h 11307763"/>
              <a:gd name="connsiteX118" fmla="*/ 13091967 w 15633609"/>
              <a:gd name="connsiteY118" fmla="*/ 6042343 h 11307763"/>
              <a:gd name="connsiteX119" fmla="*/ 13102695 w 15633609"/>
              <a:gd name="connsiteY119" fmla="*/ 6084772 h 11307763"/>
              <a:gd name="connsiteX120" fmla="*/ 13113614 w 15633609"/>
              <a:gd name="connsiteY120" fmla="*/ 6127090 h 11307763"/>
              <a:gd name="connsiteX121" fmla="*/ 13124722 w 15633609"/>
              <a:gd name="connsiteY121" fmla="*/ 6169298 h 11307763"/>
              <a:gd name="connsiteX122" fmla="*/ 13136016 w 15633609"/>
              <a:gd name="connsiteY122" fmla="*/ 6211398 h 11307763"/>
              <a:gd name="connsiteX123" fmla="*/ 13147496 w 15633609"/>
              <a:gd name="connsiteY123" fmla="*/ 6253390 h 11307763"/>
              <a:gd name="connsiteX124" fmla="*/ 13159160 w 15633609"/>
              <a:gd name="connsiteY124" fmla="*/ 6295277 h 11307763"/>
              <a:gd name="connsiteX125" fmla="*/ 13171005 w 15633609"/>
              <a:gd name="connsiteY125" fmla="*/ 6337058 h 11307763"/>
              <a:gd name="connsiteX126" fmla="*/ 13183031 w 15633609"/>
              <a:gd name="connsiteY126" fmla="*/ 6378736 h 11307763"/>
              <a:gd name="connsiteX127" fmla="*/ 13195236 w 15633609"/>
              <a:gd name="connsiteY127" fmla="*/ 6420312 h 11307763"/>
              <a:gd name="connsiteX128" fmla="*/ 13207618 w 15633609"/>
              <a:gd name="connsiteY128" fmla="*/ 6461786 h 11307763"/>
              <a:gd name="connsiteX129" fmla="*/ 13220175 w 15633609"/>
              <a:gd name="connsiteY129" fmla="*/ 6503160 h 11307763"/>
              <a:gd name="connsiteX130" fmla="*/ 13232905 w 15633609"/>
              <a:gd name="connsiteY130" fmla="*/ 6544435 h 11307763"/>
              <a:gd name="connsiteX131" fmla="*/ 13245808 w 15633609"/>
              <a:gd name="connsiteY131" fmla="*/ 6585612 h 11307763"/>
              <a:gd name="connsiteX132" fmla="*/ 13258881 w 15633609"/>
              <a:gd name="connsiteY132" fmla="*/ 6626693 h 11307763"/>
              <a:gd name="connsiteX133" fmla="*/ 13272123 w 15633609"/>
              <a:gd name="connsiteY133" fmla="*/ 6667678 h 11307763"/>
              <a:gd name="connsiteX134" fmla="*/ 13285533 w 15633609"/>
              <a:gd name="connsiteY134" fmla="*/ 6708569 h 11307763"/>
              <a:gd name="connsiteX135" fmla="*/ 13299107 w 15633609"/>
              <a:gd name="connsiteY135" fmla="*/ 6749367 h 11307763"/>
              <a:gd name="connsiteX136" fmla="*/ 13312845 w 15633609"/>
              <a:gd name="connsiteY136" fmla="*/ 6790073 h 11307763"/>
              <a:gd name="connsiteX137" fmla="*/ 13326746 w 15633609"/>
              <a:gd name="connsiteY137" fmla="*/ 6830689 h 11307763"/>
              <a:gd name="connsiteX138" fmla="*/ 13340807 w 15633609"/>
              <a:gd name="connsiteY138" fmla="*/ 6871215 h 11307763"/>
              <a:gd name="connsiteX139" fmla="*/ 13355026 w 15633609"/>
              <a:gd name="connsiteY139" fmla="*/ 6911653 h 11307763"/>
              <a:gd name="connsiteX140" fmla="*/ 13369403 w 15633609"/>
              <a:gd name="connsiteY140" fmla="*/ 6952003 h 11307763"/>
              <a:gd name="connsiteX141" fmla="*/ 13383935 w 15633609"/>
              <a:gd name="connsiteY141" fmla="*/ 6992268 h 11307763"/>
              <a:gd name="connsiteX142" fmla="*/ 13398622 w 15633609"/>
              <a:gd name="connsiteY142" fmla="*/ 7032448 h 11307763"/>
              <a:gd name="connsiteX143" fmla="*/ 13413460 w 15633609"/>
              <a:gd name="connsiteY143" fmla="*/ 7072544 h 11307763"/>
              <a:gd name="connsiteX144" fmla="*/ 13428449 w 15633609"/>
              <a:gd name="connsiteY144" fmla="*/ 7112558 h 11307763"/>
              <a:gd name="connsiteX145" fmla="*/ 13443587 w 15633609"/>
              <a:gd name="connsiteY145" fmla="*/ 7152491 h 11307763"/>
              <a:gd name="connsiteX146" fmla="*/ 13458871 w 15633609"/>
              <a:gd name="connsiteY146" fmla="*/ 7192343 h 11307763"/>
              <a:gd name="connsiteX147" fmla="*/ 13474302 w 15633609"/>
              <a:gd name="connsiteY147" fmla="*/ 7232117 h 11307763"/>
              <a:gd name="connsiteX148" fmla="*/ 13489876 w 15633609"/>
              <a:gd name="connsiteY148" fmla="*/ 7271813 h 11307763"/>
              <a:gd name="connsiteX149" fmla="*/ 13505593 w 15633609"/>
              <a:gd name="connsiteY149" fmla="*/ 7311433 h 11307763"/>
              <a:gd name="connsiteX150" fmla="*/ 13521450 w 15633609"/>
              <a:gd name="connsiteY150" fmla="*/ 7350977 h 11307763"/>
              <a:gd name="connsiteX151" fmla="*/ 13537446 w 15633609"/>
              <a:gd name="connsiteY151" fmla="*/ 7390448 h 11307763"/>
              <a:gd name="connsiteX152" fmla="*/ 13553580 w 15633609"/>
              <a:gd name="connsiteY152" fmla="*/ 7429845 h 11307763"/>
              <a:gd name="connsiteX153" fmla="*/ 13569849 w 15633609"/>
              <a:gd name="connsiteY153" fmla="*/ 7469171 h 11307763"/>
              <a:gd name="connsiteX154" fmla="*/ 13586251 w 15633609"/>
              <a:gd name="connsiteY154" fmla="*/ 7508426 h 11307763"/>
              <a:gd name="connsiteX155" fmla="*/ 13602787 w 15633609"/>
              <a:gd name="connsiteY155" fmla="*/ 7547611 h 11307763"/>
              <a:gd name="connsiteX156" fmla="*/ 13619452 w 15633609"/>
              <a:gd name="connsiteY156" fmla="*/ 7586729 h 11307763"/>
              <a:gd name="connsiteX157" fmla="*/ 13636247 w 15633609"/>
              <a:gd name="connsiteY157" fmla="*/ 7625779 h 11307763"/>
              <a:gd name="connsiteX158" fmla="*/ 13653169 w 15633609"/>
              <a:gd name="connsiteY158" fmla="*/ 7664764 h 11307763"/>
              <a:gd name="connsiteX159" fmla="*/ 13670217 w 15633609"/>
              <a:gd name="connsiteY159" fmla="*/ 7703683 h 11307763"/>
              <a:gd name="connsiteX160" fmla="*/ 13687389 w 15633609"/>
              <a:gd name="connsiteY160" fmla="*/ 7742540 h 11307763"/>
              <a:gd name="connsiteX161" fmla="*/ 13704683 w 15633609"/>
              <a:gd name="connsiteY161" fmla="*/ 7781334 h 11307763"/>
              <a:gd name="connsiteX162" fmla="*/ 13722098 w 15633609"/>
              <a:gd name="connsiteY162" fmla="*/ 7820067 h 11307763"/>
              <a:gd name="connsiteX163" fmla="*/ 13739632 w 15633609"/>
              <a:gd name="connsiteY163" fmla="*/ 7858740 h 11307763"/>
              <a:gd name="connsiteX164" fmla="*/ 13757283 w 15633609"/>
              <a:gd name="connsiteY164" fmla="*/ 7897355 h 11307763"/>
              <a:gd name="connsiteX165" fmla="*/ 13775050 w 15633609"/>
              <a:gd name="connsiteY165" fmla="*/ 7935911 h 11307763"/>
              <a:gd name="connsiteX166" fmla="*/ 13792931 w 15633609"/>
              <a:gd name="connsiteY166" fmla="*/ 7974412 h 11307763"/>
              <a:gd name="connsiteX167" fmla="*/ 13810924 w 15633609"/>
              <a:gd name="connsiteY167" fmla="*/ 8012857 h 11307763"/>
              <a:gd name="connsiteX168" fmla="*/ 13829028 w 15633609"/>
              <a:gd name="connsiteY168" fmla="*/ 8051248 h 11307763"/>
              <a:gd name="connsiteX169" fmla="*/ 13847242 w 15633609"/>
              <a:gd name="connsiteY169" fmla="*/ 8089587 h 11307763"/>
              <a:gd name="connsiteX170" fmla="*/ 13865562 w 15633609"/>
              <a:gd name="connsiteY170" fmla="*/ 8127873 h 11307763"/>
              <a:gd name="connsiteX171" fmla="*/ 13883989 w 15633609"/>
              <a:gd name="connsiteY171" fmla="*/ 8166110 h 11307763"/>
              <a:gd name="connsiteX172" fmla="*/ 13902519 w 15633609"/>
              <a:gd name="connsiteY172" fmla="*/ 8204296 h 11307763"/>
              <a:gd name="connsiteX173" fmla="*/ 13921152 w 15633609"/>
              <a:gd name="connsiteY173" fmla="*/ 8242435 h 11307763"/>
              <a:gd name="connsiteX174" fmla="*/ 13939886 w 15633609"/>
              <a:gd name="connsiteY174" fmla="*/ 8280527 h 11307763"/>
              <a:gd name="connsiteX175" fmla="*/ 13958719 w 15633609"/>
              <a:gd name="connsiteY175" fmla="*/ 8318574 h 11307763"/>
              <a:gd name="connsiteX176" fmla="*/ 13977649 w 15633609"/>
              <a:gd name="connsiteY176" fmla="*/ 8356575 h 11307763"/>
              <a:gd name="connsiteX177" fmla="*/ 13996675 w 15633609"/>
              <a:gd name="connsiteY177" fmla="*/ 8394533 h 11307763"/>
              <a:gd name="connsiteX178" fmla="*/ 14015796 w 15633609"/>
              <a:gd name="connsiteY178" fmla="*/ 8432450 h 11307763"/>
              <a:gd name="connsiteX179" fmla="*/ 14035009 w 15633609"/>
              <a:gd name="connsiteY179" fmla="*/ 8470325 h 11307763"/>
              <a:gd name="connsiteX180" fmla="*/ 14054313 w 15633609"/>
              <a:gd name="connsiteY180" fmla="*/ 8508160 h 11307763"/>
              <a:gd name="connsiteX181" fmla="*/ 14073706 w 15633609"/>
              <a:gd name="connsiteY181" fmla="*/ 8545957 h 11307763"/>
              <a:gd name="connsiteX182" fmla="*/ 14093186 w 15633609"/>
              <a:gd name="connsiteY182" fmla="*/ 8583716 h 11307763"/>
              <a:gd name="connsiteX183" fmla="*/ 14112752 w 15633609"/>
              <a:gd name="connsiteY183" fmla="*/ 8621439 h 11307763"/>
              <a:gd name="connsiteX184" fmla="*/ 14132403 w 15633609"/>
              <a:gd name="connsiteY184" fmla="*/ 8659126 h 11307763"/>
              <a:gd name="connsiteX185" fmla="*/ 14171950 w 15633609"/>
              <a:gd name="connsiteY185" fmla="*/ 8734401 h 11307763"/>
              <a:gd name="connsiteX186" fmla="*/ 14211815 w 15633609"/>
              <a:gd name="connsiteY186" fmla="*/ 8809550 h 11307763"/>
              <a:gd name="connsiteX187" fmla="*/ 14251983 w 15633609"/>
              <a:gd name="connsiteY187" fmla="*/ 8884582 h 11307763"/>
              <a:gd name="connsiteX188" fmla="*/ 14292441 w 15633609"/>
              <a:gd name="connsiteY188" fmla="*/ 8959507 h 11307763"/>
              <a:gd name="connsiteX189" fmla="*/ 14333177 w 15633609"/>
              <a:gd name="connsiteY189" fmla="*/ 9034334 h 11307763"/>
              <a:gd name="connsiteX190" fmla="*/ 14374177 w 15633609"/>
              <a:gd name="connsiteY190" fmla="*/ 9109073 h 11307763"/>
              <a:gd name="connsiteX191" fmla="*/ 14436142 w 15633609"/>
              <a:gd name="connsiteY191" fmla="*/ 9221036 h 11307763"/>
              <a:gd name="connsiteX192" fmla="*/ 14498627 w 15633609"/>
              <a:gd name="connsiteY192" fmla="*/ 9332854 h 11307763"/>
              <a:gd name="connsiteX193" fmla="*/ 14582671 w 15633609"/>
              <a:gd name="connsiteY193" fmla="*/ 9481773 h 11307763"/>
              <a:gd name="connsiteX194" fmla="*/ 14667452 w 15633609"/>
              <a:gd name="connsiteY194" fmla="*/ 9630565 h 11307763"/>
              <a:gd name="connsiteX195" fmla="*/ 14795776 w 15633609"/>
              <a:gd name="connsiteY195" fmla="*/ 9853682 h 11307763"/>
              <a:gd name="connsiteX196" fmla="*/ 15272668 w 15633609"/>
              <a:gd name="connsiteY196" fmla="*/ 10674932 h 11307763"/>
              <a:gd name="connsiteX197" fmla="*/ 15446180 w 15633609"/>
              <a:gd name="connsiteY197" fmla="*/ 10976499 h 11307763"/>
              <a:gd name="connsiteX198" fmla="*/ 15554022 w 15633609"/>
              <a:gd name="connsiteY198" fmla="*/ 11166221 h 11307763"/>
              <a:gd name="connsiteX199" fmla="*/ 15633609 w 15633609"/>
              <a:gd name="connsiteY199" fmla="*/ 11307763 h 11307763"/>
              <a:gd name="connsiteX200" fmla="*/ 0 w 15633609"/>
              <a:gd name="connsiteY200" fmla="*/ 11307763 h 11307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15633609" h="11307763">
                <a:moveTo>
                  <a:pt x="0" y="0"/>
                </a:moveTo>
                <a:lnTo>
                  <a:pt x="13600449" y="0"/>
                </a:lnTo>
                <a:lnTo>
                  <a:pt x="13581182" y="53290"/>
                </a:lnTo>
                <a:lnTo>
                  <a:pt x="13558589" y="116593"/>
                </a:lnTo>
                <a:lnTo>
                  <a:pt x="13536379" y="179648"/>
                </a:lnTo>
                <a:lnTo>
                  <a:pt x="13514550" y="242456"/>
                </a:lnTo>
                <a:lnTo>
                  <a:pt x="13493100" y="305018"/>
                </a:lnTo>
                <a:lnTo>
                  <a:pt x="13472027" y="367337"/>
                </a:lnTo>
                <a:lnTo>
                  <a:pt x="13451330" y="429411"/>
                </a:lnTo>
                <a:lnTo>
                  <a:pt x="13431008" y="491244"/>
                </a:lnTo>
                <a:lnTo>
                  <a:pt x="13411058" y="552836"/>
                </a:lnTo>
                <a:lnTo>
                  <a:pt x="13391480" y="614189"/>
                </a:lnTo>
                <a:lnTo>
                  <a:pt x="13372270" y="675303"/>
                </a:lnTo>
                <a:lnTo>
                  <a:pt x="13353428" y="736179"/>
                </a:lnTo>
                <a:lnTo>
                  <a:pt x="13334952" y="796820"/>
                </a:lnTo>
                <a:lnTo>
                  <a:pt x="13316841" y="857225"/>
                </a:lnTo>
                <a:lnTo>
                  <a:pt x="13299092" y="917397"/>
                </a:lnTo>
                <a:lnTo>
                  <a:pt x="13281704" y="977336"/>
                </a:lnTo>
                <a:lnTo>
                  <a:pt x="13264675" y="1037044"/>
                </a:lnTo>
                <a:lnTo>
                  <a:pt x="13248005" y="1096522"/>
                </a:lnTo>
                <a:lnTo>
                  <a:pt x="13231690" y="1155770"/>
                </a:lnTo>
                <a:lnTo>
                  <a:pt x="13215729" y="1214791"/>
                </a:lnTo>
                <a:lnTo>
                  <a:pt x="13200122" y="1273585"/>
                </a:lnTo>
                <a:lnTo>
                  <a:pt x="13184865" y="1332154"/>
                </a:lnTo>
                <a:lnTo>
                  <a:pt x="13169958" y="1390498"/>
                </a:lnTo>
                <a:lnTo>
                  <a:pt x="13155398" y="1448619"/>
                </a:lnTo>
                <a:lnTo>
                  <a:pt x="13141185" y="1506519"/>
                </a:lnTo>
                <a:lnTo>
                  <a:pt x="13127316" y="1564197"/>
                </a:lnTo>
                <a:lnTo>
                  <a:pt x="13113790" y="1621656"/>
                </a:lnTo>
                <a:lnTo>
                  <a:pt x="13100605" y="1678897"/>
                </a:lnTo>
                <a:lnTo>
                  <a:pt x="13087759" y="1735920"/>
                </a:lnTo>
                <a:lnTo>
                  <a:pt x="13075251" y="1792727"/>
                </a:lnTo>
                <a:lnTo>
                  <a:pt x="13063080" y="1849320"/>
                </a:lnTo>
                <a:lnTo>
                  <a:pt x="13051242" y="1905699"/>
                </a:lnTo>
                <a:lnTo>
                  <a:pt x="13039738" y="1961865"/>
                </a:lnTo>
                <a:lnTo>
                  <a:pt x="13028565" y="2017820"/>
                </a:lnTo>
                <a:lnTo>
                  <a:pt x="13017721" y="2073565"/>
                </a:lnTo>
                <a:lnTo>
                  <a:pt x="13007205" y="2129101"/>
                </a:lnTo>
                <a:lnTo>
                  <a:pt x="12997016" y="2184430"/>
                </a:lnTo>
                <a:lnTo>
                  <a:pt x="12987151" y="2239551"/>
                </a:lnTo>
                <a:lnTo>
                  <a:pt x="12977609" y="2294468"/>
                </a:lnTo>
                <a:lnTo>
                  <a:pt x="12968388" y="2349180"/>
                </a:lnTo>
                <a:lnTo>
                  <a:pt x="12959486" y="2403689"/>
                </a:lnTo>
                <a:lnTo>
                  <a:pt x="12950903" y="2457997"/>
                </a:lnTo>
                <a:lnTo>
                  <a:pt x="12942636" y="2512103"/>
                </a:lnTo>
                <a:lnTo>
                  <a:pt x="12934683" y="2566011"/>
                </a:lnTo>
                <a:lnTo>
                  <a:pt x="12927044" y="2619720"/>
                </a:lnTo>
                <a:lnTo>
                  <a:pt x="12919715" y="2673232"/>
                </a:lnTo>
                <a:lnTo>
                  <a:pt x="12912696" y="2726548"/>
                </a:lnTo>
                <a:lnTo>
                  <a:pt x="12905986" y="2779669"/>
                </a:lnTo>
                <a:lnTo>
                  <a:pt x="12899581" y="2832597"/>
                </a:lnTo>
                <a:lnTo>
                  <a:pt x="12893481" y="2885332"/>
                </a:lnTo>
                <a:lnTo>
                  <a:pt x="12887685" y="2937876"/>
                </a:lnTo>
                <a:lnTo>
                  <a:pt x="12882189" y="2990230"/>
                </a:lnTo>
                <a:lnTo>
                  <a:pt x="12876994" y="3042396"/>
                </a:lnTo>
                <a:lnTo>
                  <a:pt x="12872096" y="3094373"/>
                </a:lnTo>
                <a:lnTo>
                  <a:pt x="12867494" y="3146165"/>
                </a:lnTo>
                <a:lnTo>
                  <a:pt x="12863188" y="3197771"/>
                </a:lnTo>
                <a:lnTo>
                  <a:pt x="12859174" y="3249192"/>
                </a:lnTo>
                <a:lnTo>
                  <a:pt x="12855452" y="3300431"/>
                </a:lnTo>
                <a:lnTo>
                  <a:pt x="12852020" y="3351489"/>
                </a:lnTo>
                <a:lnTo>
                  <a:pt x="12848875" y="3402365"/>
                </a:lnTo>
                <a:lnTo>
                  <a:pt x="12846017" y="3453063"/>
                </a:lnTo>
                <a:lnTo>
                  <a:pt x="12843444" y="3503582"/>
                </a:lnTo>
                <a:lnTo>
                  <a:pt x="12841154" y="3553924"/>
                </a:lnTo>
                <a:lnTo>
                  <a:pt x="12839145" y="3604090"/>
                </a:lnTo>
                <a:lnTo>
                  <a:pt x="12837417" y="3654082"/>
                </a:lnTo>
                <a:lnTo>
                  <a:pt x="12835966" y="3703900"/>
                </a:lnTo>
                <a:lnTo>
                  <a:pt x="12834792" y="3753546"/>
                </a:lnTo>
                <a:lnTo>
                  <a:pt x="12833892" y="3803021"/>
                </a:lnTo>
                <a:lnTo>
                  <a:pt x="12833266" y="3852326"/>
                </a:lnTo>
                <a:lnTo>
                  <a:pt x="12832911" y="3901463"/>
                </a:lnTo>
                <a:lnTo>
                  <a:pt x="12832827" y="3950432"/>
                </a:lnTo>
                <a:lnTo>
                  <a:pt x="12833010" y="3999234"/>
                </a:lnTo>
                <a:lnTo>
                  <a:pt x="12833460" y="4047871"/>
                </a:lnTo>
                <a:lnTo>
                  <a:pt x="12834174" y="4096344"/>
                </a:lnTo>
                <a:lnTo>
                  <a:pt x="12835152" y="4144655"/>
                </a:lnTo>
                <a:lnTo>
                  <a:pt x="12836392" y="4192804"/>
                </a:lnTo>
                <a:lnTo>
                  <a:pt x="12837891" y="4240792"/>
                </a:lnTo>
                <a:lnTo>
                  <a:pt x="12839649" y="4288621"/>
                </a:lnTo>
                <a:lnTo>
                  <a:pt x="12841663" y="4336292"/>
                </a:lnTo>
                <a:lnTo>
                  <a:pt x="12843933" y="4383807"/>
                </a:lnTo>
                <a:lnTo>
                  <a:pt x="12846455" y="4431165"/>
                </a:lnTo>
                <a:lnTo>
                  <a:pt x="12849229" y="4478369"/>
                </a:lnTo>
                <a:lnTo>
                  <a:pt x="12852253" y="4525420"/>
                </a:lnTo>
                <a:lnTo>
                  <a:pt x="12855526" y="4572318"/>
                </a:lnTo>
                <a:lnTo>
                  <a:pt x="12859045" y="4619066"/>
                </a:lnTo>
                <a:lnTo>
                  <a:pt x="12862809" y="4665663"/>
                </a:lnTo>
                <a:lnTo>
                  <a:pt x="12866816" y="4712112"/>
                </a:lnTo>
                <a:lnTo>
                  <a:pt x="12871065" y="4758414"/>
                </a:lnTo>
                <a:lnTo>
                  <a:pt x="12875554" y="4804569"/>
                </a:lnTo>
                <a:lnTo>
                  <a:pt x="12880282" y="4850580"/>
                </a:lnTo>
                <a:lnTo>
                  <a:pt x="12885246" y="4896446"/>
                </a:lnTo>
                <a:lnTo>
                  <a:pt x="12890445" y="4942170"/>
                </a:lnTo>
                <a:lnTo>
                  <a:pt x="12895878" y="4987752"/>
                </a:lnTo>
                <a:lnTo>
                  <a:pt x="12901542" y="5033194"/>
                </a:lnTo>
                <a:lnTo>
                  <a:pt x="12907436" y="5078497"/>
                </a:lnTo>
                <a:lnTo>
                  <a:pt x="12913559" y="5123661"/>
                </a:lnTo>
                <a:lnTo>
                  <a:pt x="12919909" y="5168689"/>
                </a:lnTo>
                <a:lnTo>
                  <a:pt x="12926483" y="5213582"/>
                </a:lnTo>
                <a:lnTo>
                  <a:pt x="12933281" y="5258339"/>
                </a:lnTo>
                <a:lnTo>
                  <a:pt x="12940301" y="5302964"/>
                </a:lnTo>
                <a:lnTo>
                  <a:pt x="12947541" y="5347457"/>
                </a:lnTo>
                <a:lnTo>
                  <a:pt x="12955000" y="5391819"/>
                </a:lnTo>
                <a:lnTo>
                  <a:pt x="12962675" y="5436051"/>
                </a:lnTo>
                <a:lnTo>
                  <a:pt x="12970566" y="5480154"/>
                </a:lnTo>
                <a:lnTo>
                  <a:pt x="12978669" y="5524130"/>
                </a:lnTo>
                <a:lnTo>
                  <a:pt x="12986985" y="5567980"/>
                </a:lnTo>
                <a:lnTo>
                  <a:pt x="12995511" y="5611705"/>
                </a:lnTo>
                <a:lnTo>
                  <a:pt x="13004246" y="5655307"/>
                </a:lnTo>
                <a:lnTo>
                  <a:pt x="13013187" y="5698785"/>
                </a:lnTo>
                <a:lnTo>
                  <a:pt x="13022334" y="5742143"/>
                </a:lnTo>
                <a:lnTo>
                  <a:pt x="13031684" y="5785380"/>
                </a:lnTo>
                <a:lnTo>
                  <a:pt x="13041236" y="5828498"/>
                </a:lnTo>
                <a:lnTo>
                  <a:pt x="13050988" y="5871498"/>
                </a:lnTo>
                <a:lnTo>
                  <a:pt x="13060939" y="5914381"/>
                </a:lnTo>
                <a:lnTo>
                  <a:pt x="13071087" y="5957149"/>
                </a:lnTo>
                <a:lnTo>
                  <a:pt x="13081430" y="5999803"/>
                </a:lnTo>
                <a:lnTo>
                  <a:pt x="13091967" y="6042343"/>
                </a:lnTo>
                <a:lnTo>
                  <a:pt x="13102695" y="6084772"/>
                </a:lnTo>
                <a:lnTo>
                  <a:pt x="13113614" y="6127090"/>
                </a:lnTo>
                <a:lnTo>
                  <a:pt x="13124722" y="6169298"/>
                </a:lnTo>
                <a:lnTo>
                  <a:pt x="13136016" y="6211398"/>
                </a:lnTo>
                <a:lnTo>
                  <a:pt x="13147496" y="6253390"/>
                </a:lnTo>
                <a:lnTo>
                  <a:pt x="13159160" y="6295277"/>
                </a:lnTo>
                <a:lnTo>
                  <a:pt x="13171005" y="6337058"/>
                </a:lnTo>
                <a:lnTo>
                  <a:pt x="13183031" y="6378736"/>
                </a:lnTo>
                <a:lnTo>
                  <a:pt x="13195236" y="6420312"/>
                </a:lnTo>
                <a:lnTo>
                  <a:pt x="13207618" y="6461786"/>
                </a:lnTo>
                <a:lnTo>
                  <a:pt x="13220175" y="6503160"/>
                </a:lnTo>
                <a:lnTo>
                  <a:pt x="13232905" y="6544435"/>
                </a:lnTo>
                <a:lnTo>
                  <a:pt x="13245808" y="6585612"/>
                </a:lnTo>
                <a:lnTo>
                  <a:pt x="13258881" y="6626693"/>
                </a:lnTo>
                <a:lnTo>
                  <a:pt x="13272123" y="6667678"/>
                </a:lnTo>
                <a:lnTo>
                  <a:pt x="13285533" y="6708569"/>
                </a:lnTo>
                <a:lnTo>
                  <a:pt x="13299107" y="6749367"/>
                </a:lnTo>
                <a:lnTo>
                  <a:pt x="13312845" y="6790073"/>
                </a:lnTo>
                <a:lnTo>
                  <a:pt x="13326746" y="6830689"/>
                </a:lnTo>
                <a:lnTo>
                  <a:pt x="13340807" y="6871215"/>
                </a:lnTo>
                <a:lnTo>
                  <a:pt x="13355026" y="6911653"/>
                </a:lnTo>
                <a:lnTo>
                  <a:pt x="13369403" y="6952003"/>
                </a:lnTo>
                <a:lnTo>
                  <a:pt x="13383935" y="6992268"/>
                </a:lnTo>
                <a:lnTo>
                  <a:pt x="13398622" y="7032448"/>
                </a:lnTo>
                <a:lnTo>
                  <a:pt x="13413460" y="7072544"/>
                </a:lnTo>
                <a:lnTo>
                  <a:pt x="13428449" y="7112558"/>
                </a:lnTo>
                <a:lnTo>
                  <a:pt x="13443587" y="7152491"/>
                </a:lnTo>
                <a:lnTo>
                  <a:pt x="13458871" y="7192343"/>
                </a:lnTo>
                <a:lnTo>
                  <a:pt x="13474302" y="7232117"/>
                </a:lnTo>
                <a:lnTo>
                  <a:pt x="13489876" y="7271813"/>
                </a:lnTo>
                <a:lnTo>
                  <a:pt x="13505593" y="7311433"/>
                </a:lnTo>
                <a:lnTo>
                  <a:pt x="13521450" y="7350977"/>
                </a:lnTo>
                <a:lnTo>
                  <a:pt x="13537446" y="7390448"/>
                </a:lnTo>
                <a:lnTo>
                  <a:pt x="13553580" y="7429845"/>
                </a:lnTo>
                <a:lnTo>
                  <a:pt x="13569849" y="7469171"/>
                </a:lnTo>
                <a:lnTo>
                  <a:pt x="13586251" y="7508426"/>
                </a:lnTo>
                <a:lnTo>
                  <a:pt x="13602787" y="7547611"/>
                </a:lnTo>
                <a:lnTo>
                  <a:pt x="13619452" y="7586729"/>
                </a:lnTo>
                <a:lnTo>
                  <a:pt x="13636247" y="7625779"/>
                </a:lnTo>
                <a:lnTo>
                  <a:pt x="13653169" y="7664764"/>
                </a:lnTo>
                <a:lnTo>
                  <a:pt x="13670217" y="7703683"/>
                </a:lnTo>
                <a:lnTo>
                  <a:pt x="13687389" y="7742540"/>
                </a:lnTo>
                <a:lnTo>
                  <a:pt x="13704683" y="7781334"/>
                </a:lnTo>
                <a:lnTo>
                  <a:pt x="13722098" y="7820067"/>
                </a:lnTo>
                <a:lnTo>
                  <a:pt x="13739632" y="7858740"/>
                </a:lnTo>
                <a:lnTo>
                  <a:pt x="13757283" y="7897355"/>
                </a:lnTo>
                <a:lnTo>
                  <a:pt x="13775050" y="7935911"/>
                </a:lnTo>
                <a:lnTo>
                  <a:pt x="13792931" y="7974412"/>
                </a:lnTo>
                <a:lnTo>
                  <a:pt x="13810924" y="8012857"/>
                </a:lnTo>
                <a:lnTo>
                  <a:pt x="13829028" y="8051248"/>
                </a:lnTo>
                <a:lnTo>
                  <a:pt x="13847242" y="8089587"/>
                </a:lnTo>
                <a:lnTo>
                  <a:pt x="13865562" y="8127873"/>
                </a:lnTo>
                <a:lnTo>
                  <a:pt x="13883989" y="8166110"/>
                </a:lnTo>
                <a:lnTo>
                  <a:pt x="13902519" y="8204296"/>
                </a:lnTo>
                <a:lnTo>
                  <a:pt x="13921152" y="8242435"/>
                </a:lnTo>
                <a:lnTo>
                  <a:pt x="13939886" y="8280527"/>
                </a:lnTo>
                <a:lnTo>
                  <a:pt x="13958719" y="8318574"/>
                </a:lnTo>
                <a:lnTo>
                  <a:pt x="13977649" y="8356575"/>
                </a:lnTo>
                <a:lnTo>
                  <a:pt x="13996675" y="8394533"/>
                </a:lnTo>
                <a:lnTo>
                  <a:pt x="14015796" y="8432450"/>
                </a:lnTo>
                <a:lnTo>
                  <a:pt x="14035009" y="8470325"/>
                </a:lnTo>
                <a:lnTo>
                  <a:pt x="14054313" y="8508160"/>
                </a:lnTo>
                <a:lnTo>
                  <a:pt x="14073706" y="8545957"/>
                </a:lnTo>
                <a:lnTo>
                  <a:pt x="14093186" y="8583716"/>
                </a:lnTo>
                <a:lnTo>
                  <a:pt x="14112752" y="8621439"/>
                </a:lnTo>
                <a:lnTo>
                  <a:pt x="14132403" y="8659126"/>
                </a:lnTo>
                <a:lnTo>
                  <a:pt x="14171950" y="8734401"/>
                </a:lnTo>
                <a:lnTo>
                  <a:pt x="14211815" y="8809550"/>
                </a:lnTo>
                <a:lnTo>
                  <a:pt x="14251983" y="8884582"/>
                </a:lnTo>
                <a:lnTo>
                  <a:pt x="14292441" y="8959507"/>
                </a:lnTo>
                <a:lnTo>
                  <a:pt x="14333177" y="9034334"/>
                </a:lnTo>
                <a:lnTo>
                  <a:pt x="14374177" y="9109073"/>
                </a:lnTo>
                <a:lnTo>
                  <a:pt x="14436142" y="9221036"/>
                </a:lnTo>
                <a:lnTo>
                  <a:pt x="14498627" y="9332854"/>
                </a:lnTo>
                <a:lnTo>
                  <a:pt x="14582671" y="9481773"/>
                </a:lnTo>
                <a:lnTo>
                  <a:pt x="14667452" y="9630565"/>
                </a:lnTo>
                <a:lnTo>
                  <a:pt x="14795776" y="9853682"/>
                </a:lnTo>
                <a:lnTo>
                  <a:pt x="15272668" y="10674932"/>
                </a:lnTo>
                <a:lnTo>
                  <a:pt x="15446180" y="10976499"/>
                </a:lnTo>
                <a:lnTo>
                  <a:pt x="15554022" y="11166221"/>
                </a:lnTo>
                <a:lnTo>
                  <a:pt x="15633609" y="11307763"/>
                </a:lnTo>
                <a:lnTo>
                  <a:pt x="0" y="11307763"/>
                </a:lnTo>
                <a:close/>
              </a:path>
            </a:pathLst>
          </a:custGeom>
          <a:solidFill>
            <a:schemeClr val="accent6"/>
          </a:solidFill>
          <a:ln>
            <a:noFill/>
          </a:ln>
        </p:spPr>
        <p:txBody>
          <a:bodyPr wrap="square">
            <a:noAutofit/>
          </a:bodyPr>
          <a:lstStyle>
            <a:lvl1pPr>
              <a:defRPr>
                <a:solidFill>
                  <a:schemeClr val="accent1"/>
                </a:solidFill>
              </a:defRPr>
            </a:lvl1pPr>
          </a:lstStyle>
          <a:p>
            <a:r>
              <a:rPr lang="en-GB" dirty="0"/>
              <a:t>  </a:t>
            </a:r>
          </a:p>
        </p:txBody>
      </p:sp>
      <p:sp>
        <p:nvSpPr>
          <p:cNvPr id="5" name="Text Placeholder 2">
            <a:extLst>
              <a:ext uri="{FF2B5EF4-FFF2-40B4-BE49-F238E27FC236}">
                <a16:creationId xmlns:a16="http://schemas.microsoft.com/office/drawing/2014/main" id="{26690566-6807-478B-842D-F5AB25A5420F}"/>
              </a:ext>
            </a:extLst>
          </p:cNvPr>
          <p:cNvSpPr>
            <a:spLocks noGrp="1"/>
          </p:cNvSpPr>
          <p:nvPr>
            <p:ph type="body" sz="quarter" idx="15"/>
          </p:nvPr>
        </p:nvSpPr>
        <p:spPr>
          <a:xfrm>
            <a:off x="8303685" y="1416001"/>
            <a:ext cx="3456945" cy="328295"/>
          </a:xfrm>
        </p:spPr>
        <p:txBody>
          <a:bodyPr/>
          <a:lstStyle>
            <a:lvl1pPr>
              <a:defRPr sz="2133" b="0">
                <a:solidFill>
                  <a:schemeClr val="tx1"/>
                </a:solidFill>
              </a:defRPr>
            </a:lvl1pPr>
            <a:lvl2pPr>
              <a:defRPr sz="1940"/>
            </a:lvl2pPr>
            <a:lvl3pPr marL="0" indent="0">
              <a:buNone/>
              <a:defRPr sz="1940"/>
            </a:lvl3pPr>
            <a:lvl4pPr>
              <a:defRPr sz="1940"/>
            </a:lvl4pPr>
            <a:lvl5pPr>
              <a:defRPr sz="1940"/>
            </a:lvl5pPr>
          </a:lstStyle>
          <a:p>
            <a:pPr lvl="0"/>
            <a:r>
              <a:rPr lang="en-US"/>
              <a:t>Edit Master text styles</a:t>
            </a:r>
          </a:p>
        </p:txBody>
      </p:sp>
      <p:sp>
        <p:nvSpPr>
          <p:cNvPr id="9" name="Round Diagonal Corner Rectangle 4">
            <a:extLst>
              <a:ext uri="{FF2B5EF4-FFF2-40B4-BE49-F238E27FC236}">
                <a16:creationId xmlns:a16="http://schemas.microsoft.com/office/drawing/2014/main" id="{F54843EE-89F0-474F-A438-CCD6E63C5C3A}"/>
              </a:ext>
            </a:extLst>
          </p:cNvPr>
          <p:cNvSpPr/>
          <p:nvPr userDrawn="1"/>
        </p:nvSpPr>
        <p:spPr>
          <a:xfrm>
            <a:off x="12514257" y="-2970"/>
            <a:ext cx="2576459" cy="359469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48000" tIns="48000" rIns="48000" bIns="48000" rtlCol="0" anchor="t" anchorCtr="0">
            <a:spAutoFit/>
          </a:bodyPr>
          <a:lstStyle/>
          <a:p>
            <a:pPr>
              <a:spcAft>
                <a:spcPts val="136"/>
              </a:spcAft>
            </a:pPr>
            <a:r>
              <a:rPr lang="en-GB" sz="849" b="1" noProof="0" dirty="0">
                <a:solidFill>
                  <a:schemeClr val="bg1">
                    <a:lumMod val="50000"/>
                  </a:schemeClr>
                </a:solidFill>
              </a:rPr>
              <a:t>Image placeholders</a:t>
            </a:r>
          </a:p>
          <a:p>
            <a:pPr marL="0" lvl="1" indent="0">
              <a:spcAft>
                <a:spcPts val="132"/>
              </a:spcAft>
            </a:pPr>
            <a:r>
              <a:rPr lang="en-GB" sz="849" noProof="0" dirty="0">
                <a:solidFill>
                  <a:schemeClr val="bg1">
                    <a:lumMod val="50000"/>
                  </a:schemeClr>
                </a:solidFill>
              </a:rPr>
              <a:t>This layout is set with a picture placeholder. The front cover image should always be in the cut out style or a plain yellow background</a:t>
            </a:r>
          </a:p>
          <a:p>
            <a:pPr marL="0" lvl="1" indent="0">
              <a:spcAft>
                <a:spcPts val="132"/>
              </a:spcAft>
            </a:pPr>
            <a:r>
              <a:rPr lang="en-GB" sz="849" b="1" noProof="0" dirty="0">
                <a:solidFill>
                  <a:schemeClr val="bg1">
                    <a:lumMod val="50000"/>
                  </a:schemeClr>
                </a:solidFill>
              </a:rPr>
              <a:t>Chang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Click on th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delet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Go to the Image Library</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image and ‘insert’</a:t>
            </a:r>
          </a:p>
          <a:p>
            <a:pPr marL="0" lvl="2" indent="0">
              <a:spcAft>
                <a:spcPts val="132"/>
              </a:spcAft>
              <a:buFontTx/>
              <a:buNone/>
            </a:pPr>
            <a:r>
              <a:rPr lang="en-GB" sz="849" noProof="0" dirty="0">
                <a:solidFill>
                  <a:schemeClr val="bg1">
                    <a:lumMod val="50000"/>
                  </a:schemeClr>
                </a:solidFill>
              </a:rPr>
              <a:t>When you have reset the slide the image may need readjusting</a:t>
            </a:r>
          </a:p>
          <a:p>
            <a:pPr marL="0" lvl="1" indent="0">
              <a:spcAft>
                <a:spcPts val="132"/>
              </a:spcAft>
            </a:pPr>
            <a:r>
              <a:rPr lang="en-GB" sz="849" b="1" noProof="0" dirty="0">
                <a:solidFill>
                  <a:schemeClr val="bg1">
                    <a:lumMod val="50000"/>
                  </a:schemeClr>
                </a:solidFill>
              </a:rPr>
              <a:t>Insert image</a:t>
            </a:r>
          </a:p>
          <a:p>
            <a:pPr marL="0" lvl="1" indent="0">
              <a:spcAft>
                <a:spcPts val="132"/>
              </a:spcAft>
            </a:pPr>
            <a:r>
              <a:rPr lang="en-GB" sz="849" noProof="0" dirty="0">
                <a:solidFill>
                  <a:schemeClr val="bg1">
                    <a:lumMod val="50000"/>
                  </a:schemeClr>
                </a:solidFill>
              </a:rPr>
              <a:t>To insert an image click on the ‘picture placeholder icon’, navigate to the file and insert.</a:t>
            </a:r>
          </a:p>
          <a:p>
            <a:pPr>
              <a:spcAft>
                <a:spcPts val="132"/>
              </a:spcAft>
            </a:pPr>
            <a:r>
              <a:rPr lang="en-GB" sz="849" b="1" noProof="0" dirty="0">
                <a:solidFill>
                  <a:schemeClr val="bg1">
                    <a:lumMod val="50000"/>
                  </a:schemeClr>
                </a:solidFill>
              </a:rPr>
              <a:t>Crop image</a:t>
            </a:r>
          </a:p>
          <a:p>
            <a:pPr marL="0" lvl="1" indent="0">
              <a:spcAft>
                <a:spcPts val="132"/>
              </a:spcAft>
            </a:pPr>
            <a:r>
              <a:rPr lang="en-GB" sz="849" noProof="0" dirty="0">
                <a:solidFill>
                  <a:schemeClr val="bg1">
                    <a:lumMod val="50000"/>
                  </a:schemeClr>
                </a:solidFill>
              </a:rPr>
              <a:t>When the image is inserted it may not automatically show the part of the image you want. To change what is shown:</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th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Go to ‘Format’ tab</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Crop’</a:t>
            </a:r>
          </a:p>
          <a:p>
            <a:pPr marL="0" indent="0">
              <a:spcAft>
                <a:spcPts val="136"/>
              </a:spcAft>
              <a:buFont typeface="Arial" pitchFamily="34" charset="0"/>
              <a:buNone/>
            </a:pPr>
            <a:r>
              <a:rPr lang="en-GB" sz="849" b="1" noProof="0" dirty="0">
                <a:solidFill>
                  <a:schemeClr val="bg1">
                    <a:lumMod val="50000"/>
                  </a:schemeClr>
                </a:solidFill>
              </a:rPr>
              <a:t>Image library</a:t>
            </a:r>
          </a:p>
          <a:p>
            <a:pPr marL="0" indent="0" algn="l" defTabSz="316779" rtl="0" fontAlgn="base">
              <a:spcBef>
                <a:spcPct val="0"/>
              </a:spcBef>
              <a:spcAft>
                <a:spcPts val="136"/>
              </a:spcAft>
              <a:buFont typeface="Arial" pitchFamily="34" charset="0"/>
              <a:buNone/>
            </a:pPr>
            <a:r>
              <a:rPr lang="en-GB" sz="849" kern="1200" noProof="0" dirty="0">
                <a:solidFill>
                  <a:schemeClr val="bg1">
                    <a:lumMod val="50000"/>
                  </a:schemeClr>
                </a:solidFill>
                <a:latin typeface="+mn-lt"/>
                <a:ea typeface="+mn-ea"/>
                <a:cs typeface="+mn-cs"/>
              </a:rPr>
              <a:t>To access the image library, please log into</a:t>
            </a:r>
          </a:p>
          <a:p>
            <a:pPr marL="0" indent="0" algn="l" defTabSz="316779" rtl="0" fontAlgn="base">
              <a:spcBef>
                <a:spcPct val="0"/>
              </a:spcBef>
              <a:spcAft>
                <a:spcPts val="136"/>
              </a:spcAft>
              <a:buFont typeface="Arial" pitchFamily="34" charset="0"/>
              <a:buNone/>
            </a:pPr>
            <a:endParaRPr lang="en-GB" sz="849" kern="1200" noProof="0" dirty="0">
              <a:solidFill>
                <a:schemeClr val="bg1">
                  <a:lumMod val="50000"/>
                </a:schemeClr>
              </a:solidFill>
              <a:latin typeface="+mn-lt"/>
              <a:ea typeface="+mn-ea"/>
              <a:cs typeface="+mn-cs"/>
            </a:endParaRPr>
          </a:p>
          <a:p>
            <a:pPr>
              <a:spcAft>
                <a:spcPts val="136"/>
              </a:spcAft>
            </a:pPr>
            <a:endParaRPr lang="en-GB" sz="849" kern="1200" noProof="0" dirty="0">
              <a:solidFill>
                <a:schemeClr val="bg1">
                  <a:lumMod val="50000"/>
                </a:schemeClr>
              </a:solidFill>
              <a:latin typeface="+mn-lt"/>
              <a:ea typeface="+mn-ea"/>
              <a:cs typeface="+mn-cs"/>
            </a:endParaRPr>
          </a:p>
        </p:txBody>
      </p:sp>
      <p:sp>
        <p:nvSpPr>
          <p:cNvPr id="10" name="Rectangle 9">
            <a:hlinkClick r:id="rId2"/>
            <a:extLst>
              <a:ext uri="{FF2B5EF4-FFF2-40B4-BE49-F238E27FC236}">
                <a16:creationId xmlns:a16="http://schemas.microsoft.com/office/drawing/2014/main" id="{59EFD54B-5084-4493-98CD-406BBC16C6BC}"/>
              </a:ext>
            </a:extLst>
          </p:cNvPr>
          <p:cNvSpPr/>
          <p:nvPr userDrawn="1"/>
        </p:nvSpPr>
        <p:spPr>
          <a:xfrm>
            <a:off x="12558954" y="3394312"/>
            <a:ext cx="2336116" cy="130677"/>
          </a:xfrm>
          <a:prstGeom prst="rect">
            <a:avLst/>
          </a:prstGeom>
          <a:noFill/>
        </p:spPr>
        <p:txBody>
          <a:bodyPr wrap="square" lIns="0" tIns="0" rIns="0" bIns="0" rtlCol="0" anchor="ctr">
            <a:spAutoFit/>
          </a:bodyPr>
          <a:lstStyle/>
          <a:p>
            <a:r>
              <a:rPr lang="en-GB" sz="849" dirty="0">
                <a:cs typeface="Arial" panose="020B0604020202020204" pitchFamily="34" charset="0"/>
              </a:rPr>
              <a:t>https://nationalgrid.onbrandcloud.com/login/</a:t>
            </a:r>
          </a:p>
        </p:txBody>
      </p:sp>
      <p:pic>
        <p:nvPicPr>
          <p:cNvPr id="11" name="Picture 10">
            <a:extLst>
              <a:ext uri="{FF2B5EF4-FFF2-40B4-BE49-F238E27FC236}">
                <a16:creationId xmlns:a16="http://schemas.microsoft.com/office/drawing/2014/main" id="{50A37059-A6CA-4A16-859E-45B549666CFA}"/>
              </a:ext>
            </a:extLst>
          </p:cNvPr>
          <p:cNvPicPr>
            <a:picLocks noChangeAspect="1"/>
          </p:cNvPicPr>
          <p:nvPr userDrawn="1"/>
        </p:nvPicPr>
        <p:blipFill>
          <a:blip r:embed="rId3"/>
          <a:stretch>
            <a:fillRect/>
          </a:stretch>
        </p:blipFill>
        <p:spPr>
          <a:xfrm>
            <a:off x="9965223" y="6237768"/>
            <a:ext cx="1794176" cy="268024"/>
          </a:xfrm>
          <a:prstGeom prst="rect">
            <a:avLst/>
          </a:prstGeom>
        </p:spPr>
      </p:pic>
      <p:sp>
        <p:nvSpPr>
          <p:cNvPr id="2" name="Title 1">
            <a:extLst>
              <a:ext uri="{FF2B5EF4-FFF2-40B4-BE49-F238E27FC236}">
                <a16:creationId xmlns:a16="http://schemas.microsoft.com/office/drawing/2014/main" id="{881E7258-4646-4D7F-9430-5D4A66ADBB9A}"/>
              </a:ext>
            </a:extLst>
          </p:cNvPr>
          <p:cNvSpPr>
            <a:spLocks noGrp="1"/>
          </p:cNvSpPr>
          <p:nvPr>
            <p:ph type="title"/>
          </p:nvPr>
        </p:nvSpPr>
        <p:spPr>
          <a:xfrm>
            <a:off x="8302454" y="441140"/>
            <a:ext cx="3456945" cy="393955"/>
          </a:xfrm>
        </p:spPr>
        <p:txBody>
          <a:bodyPr/>
          <a:lstStyle/>
          <a:p>
            <a:r>
              <a:rPr lang="en-US"/>
              <a:t>Click to edit Master title style</a:t>
            </a:r>
            <a:endParaRPr lang="en-GB"/>
          </a:p>
        </p:txBody>
      </p:sp>
    </p:spTree>
    <p:extLst>
      <p:ext uri="{BB962C8B-B14F-4D97-AF65-F5344CB8AC3E}">
        <p14:creationId xmlns:p14="http://schemas.microsoft.com/office/powerpoint/2010/main" val="1425570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_Copy_Bullets">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1BE0F4E-7F52-BF43-AF16-31579F5CC45F}"/>
              </a:ext>
            </a:extLst>
          </p:cNvPr>
          <p:cNvSpPr>
            <a:spLocks noGrp="1"/>
          </p:cNvSpPr>
          <p:nvPr>
            <p:ph type="pic" sz="quarter" idx="10"/>
          </p:nvPr>
        </p:nvSpPr>
        <p:spPr>
          <a:xfrm>
            <a:off x="0" y="0"/>
            <a:ext cx="12192000" cy="6858000"/>
          </a:xfrm>
          <a:prstGeom prst="rect">
            <a:avLst/>
          </a:prstGeom>
        </p:spPr>
        <p:txBody>
          <a:bodyPr/>
          <a:lstStyle/>
          <a:p>
            <a:endParaRPr lang="en-US" dirty="0"/>
          </a:p>
        </p:txBody>
      </p:sp>
      <p:sp>
        <p:nvSpPr>
          <p:cNvPr id="8" name="Title 1">
            <a:extLst>
              <a:ext uri="{FF2B5EF4-FFF2-40B4-BE49-F238E27FC236}">
                <a16:creationId xmlns:a16="http://schemas.microsoft.com/office/drawing/2014/main" id="{5273F311-619C-EE41-937C-5749C9503E0D}"/>
              </a:ext>
            </a:extLst>
          </p:cNvPr>
          <p:cNvSpPr>
            <a:spLocks noGrp="1"/>
          </p:cNvSpPr>
          <p:nvPr>
            <p:ph type="title"/>
          </p:nvPr>
        </p:nvSpPr>
        <p:spPr>
          <a:xfrm>
            <a:off x="627025" y="560117"/>
            <a:ext cx="5043199" cy="1289948"/>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dirty="0"/>
              <a:t>Click to edit Master title style</a:t>
            </a:r>
            <a:endParaRPr lang="en-US" dirty="0"/>
          </a:p>
        </p:txBody>
      </p:sp>
      <p:sp>
        <p:nvSpPr>
          <p:cNvPr id="9" name="Text Placeholder 11">
            <a:extLst>
              <a:ext uri="{FF2B5EF4-FFF2-40B4-BE49-F238E27FC236}">
                <a16:creationId xmlns:a16="http://schemas.microsoft.com/office/drawing/2014/main" id="{40614858-C7E0-384B-835C-E29EEB6B5850}"/>
              </a:ext>
            </a:extLst>
          </p:cNvPr>
          <p:cNvSpPr>
            <a:spLocks noGrp="1"/>
          </p:cNvSpPr>
          <p:nvPr>
            <p:ph type="body" sz="quarter" idx="11"/>
          </p:nvPr>
        </p:nvSpPr>
        <p:spPr>
          <a:xfrm>
            <a:off x="627024" y="2410182"/>
            <a:ext cx="5043199" cy="2024936"/>
          </a:xfrm>
          <a:prstGeom prst="rect">
            <a:avLst/>
          </a:prstGeom>
          <a:ln>
            <a:noFill/>
          </a:ln>
        </p:spPr>
        <p:txBody>
          <a:bodyPr/>
          <a:lstStyle>
            <a:lvl1pPr marL="0" indent="0">
              <a:buNone/>
              <a:defRPr sz="1400" b="0" i="0">
                <a:solidFill>
                  <a:srgbClr val="FFBF22"/>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sp>
        <p:nvSpPr>
          <p:cNvPr id="10" name="Text Placeholder 11">
            <a:extLst>
              <a:ext uri="{FF2B5EF4-FFF2-40B4-BE49-F238E27FC236}">
                <a16:creationId xmlns:a16="http://schemas.microsoft.com/office/drawing/2014/main" id="{09C47B6E-226B-D145-B819-97EEF7D88F7A}"/>
              </a:ext>
            </a:extLst>
          </p:cNvPr>
          <p:cNvSpPr>
            <a:spLocks noGrp="1"/>
          </p:cNvSpPr>
          <p:nvPr>
            <p:ph type="body" sz="quarter" idx="12"/>
          </p:nvPr>
        </p:nvSpPr>
        <p:spPr>
          <a:xfrm>
            <a:off x="627024" y="4595737"/>
            <a:ext cx="5043199" cy="228034"/>
          </a:xfrm>
          <a:prstGeom prst="rect">
            <a:avLst/>
          </a:prstGeom>
          <a:ln>
            <a:noFill/>
          </a:ln>
        </p:spPr>
        <p:txBody>
          <a:bodyPr/>
          <a:lstStyle>
            <a:lvl1pPr marL="0" indent="0">
              <a:buNone/>
              <a:defRPr sz="1200" b="1" i="1">
                <a:solidFill>
                  <a:srgbClr val="E75400"/>
                </a:solidFill>
                <a:latin typeface="Helvetica Neue LT Std 97 Black " panose="020B0604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sp>
        <p:nvSpPr>
          <p:cNvPr id="12" name="Text Placeholder 11">
            <a:extLst>
              <a:ext uri="{FF2B5EF4-FFF2-40B4-BE49-F238E27FC236}">
                <a16:creationId xmlns:a16="http://schemas.microsoft.com/office/drawing/2014/main" id="{60F38ADB-7D45-C04A-9FF2-6847299BBE4E}"/>
              </a:ext>
            </a:extLst>
          </p:cNvPr>
          <p:cNvSpPr>
            <a:spLocks noGrp="1"/>
          </p:cNvSpPr>
          <p:nvPr>
            <p:ph type="body" sz="quarter" idx="13"/>
          </p:nvPr>
        </p:nvSpPr>
        <p:spPr>
          <a:xfrm>
            <a:off x="627023" y="4978510"/>
            <a:ext cx="5043199" cy="867691"/>
          </a:xfrm>
          <a:prstGeom prst="rect">
            <a:avLst/>
          </a:prstGeom>
          <a:ln>
            <a:noFill/>
          </a:ln>
        </p:spPr>
        <p:txBody>
          <a:bodyPr numCol="2"/>
          <a:lstStyle>
            <a:lvl1pPr marL="285750" indent="-285750">
              <a:buFont typeface="Arial" panose="020B0604020202020204" pitchFamily="34" charset="0"/>
              <a:buChar char="•"/>
              <a:defRPr sz="12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20201E"/>
                </a:solidFill>
                <a:latin typeface="Helvetica Neue LT Std 45 Light" panose="020B0403020202020204" pitchFamily="34" charset="0"/>
              </a:defRPr>
            </a:lvl3pPr>
            <a:lvl4pPr marL="1371566" indent="0">
              <a:buFont typeface="Arial" panose="020B0604020202020204" pitchFamily="34" charset="0"/>
              <a:buNone/>
              <a:defRPr sz="1400" b="0" i="0">
                <a:solidFill>
                  <a:srgbClr val="20201E"/>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pic>
        <p:nvPicPr>
          <p:cNvPr id="11" name="Picture 10">
            <a:extLst>
              <a:ext uri="{FF2B5EF4-FFF2-40B4-BE49-F238E27FC236}">
                <a16:creationId xmlns:a16="http://schemas.microsoft.com/office/drawing/2014/main" id="{06368F39-CE94-4F4E-BC80-9950DABBFD3A}"/>
              </a:ext>
            </a:extLst>
          </p:cNvPr>
          <p:cNvPicPr>
            <a:picLocks noChangeAspect="1"/>
          </p:cNvPicPr>
          <p:nvPr/>
        </p:nvPicPr>
        <p:blipFill>
          <a:blip r:embed="rId2"/>
          <a:stretch>
            <a:fillRect/>
          </a:stretch>
        </p:blipFill>
        <p:spPr>
          <a:xfrm>
            <a:off x="0" y="5816600"/>
            <a:ext cx="12192000" cy="1041400"/>
          </a:xfrm>
          <a:prstGeom prst="rect">
            <a:avLst/>
          </a:prstGeom>
        </p:spPr>
      </p:pic>
    </p:spTree>
    <p:extLst>
      <p:ext uri="{BB962C8B-B14F-4D97-AF65-F5344CB8AC3E}">
        <p14:creationId xmlns:p14="http://schemas.microsoft.com/office/powerpoint/2010/main" val="205337389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ack cov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DF3B3A2-DECF-4E1E-8224-F551F72431E6}"/>
              </a:ext>
            </a:extLst>
          </p:cNvPr>
          <p:cNvSpPr>
            <a:spLocks noGrp="1"/>
          </p:cNvSpPr>
          <p:nvPr>
            <p:ph type="pic" sz="quarter" idx="14" hasCustomPrompt="1"/>
          </p:nvPr>
        </p:nvSpPr>
        <p:spPr>
          <a:xfrm>
            <a:off x="0" y="0"/>
            <a:ext cx="12192000" cy="6858000"/>
          </a:xfrm>
          <a:custGeom>
            <a:avLst/>
            <a:gdLst>
              <a:gd name="connsiteX0" fmla="*/ 0 w 9144000"/>
              <a:gd name="connsiteY0" fmla="*/ 0 h 5143500"/>
              <a:gd name="connsiteX1" fmla="*/ 9144000 w 9144000"/>
              <a:gd name="connsiteY1" fmla="*/ 0 h 5143500"/>
              <a:gd name="connsiteX2" fmla="*/ 9144000 w 9144000"/>
              <a:gd name="connsiteY2" fmla="*/ 4345781 h 5143500"/>
              <a:gd name="connsiteX3" fmla="*/ 9143998 w 9144000"/>
              <a:gd name="connsiteY3" fmla="*/ 4345781 h 5143500"/>
              <a:gd name="connsiteX4" fmla="*/ 9143998 w 9144000"/>
              <a:gd name="connsiteY4" fmla="*/ 4344285 h 5143500"/>
              <a:gd name="connsiteX5" fmla="*/ 9095210 w 9144000"/>
              <a:gd name="connsiteY5" fmla="*/ 4326932 h 5143500"/>
              <a:gd name="connsiteX6" fmla="*/ 9047139 w 9144000"/>
              <a:gd name="connsiteY6" fmla="*/ 4310686 h 5143500"/>
              <a:gd name="connsiteX7" fmla="*/ 8999773 w 9144000"/>
              <a:gd name="connsiteY7" fmla="*/ 4295530 h 5143500"/>
              <a:gd name="connsiteX8" fmla="*/ 8953098 w 9144000"/>
              <a:gd name="connsiteY8" fmla="*/ 4281446 h 5143500"/>
              <a:gd name="connsiteX9" fmla="*/ 8907100 w 9144000"/>
              <a:gd name="connsiteY9" fmla="*/ 4268415 h 5143500"/>
              <a:gd name="connsiteX10" fmla="*/ 8861767 w 9144000"/>
              <a:gd name="connsiteY10" fmla="*/ 4256419 h 5143500"/>
              <a:gd name="connsiteX11" fmla="*/ 8817087 w 9144000"/>
              <a:gd name="connsiteY11" fmla="*/ 4245439 h 5143500"/>
              <a:gd name="connsiteX12" fmla="*/ 8773046 w 9144000"/>
              <a:gd name="connsiteY12" fmla="*/ 4235458 h 5143500"/>
              <a:gd name="connsiteX13" fmla="*/ 8729631 w 9144000"/>
              <a:gd name="connsiteY13" fmla="*/ 4226457 h 5143500"/>
              <a:gd name="connsiteX14" fmla="*/ 8686828 w 9144000"/>
              <a:gd name="connsiteY14" fmla="*/ 4218418 h 5143500"/>
              <a:gd name="connsiteX15" fmla="*/ 8644625 w 9144000"/>
              <a:gd name="connsiteY15" fmla="*/ 4211323 h 5143500"/>
              <a:gd name="connsiteX16" fmla="*/ 8603009 w 9144000"/>
              <a:gd name="connsiteY16" fmla="*/ 4205153 h 5143500"/>
              <a:gd name="connsiteX17" fmla="*/ 8582418 w 9144000"/>
              <a:gd name="connsiteY17" fmla="*/ 4202409 h 5143500"/>
              <a:gd name="connsiteX18" fmla="*/ 8561967 w 9144000"/>
              <a:gd name="connsiteY18" fmla="*/ 4199890 h 5143500"/>
              <a:gd name="connsiteX19" fmla="*/ 8541658 w 9144000"/>
              <a:gd name="connsiteY19" fmla="*/ 4197593 h 5143500"/>
              <a:gd name="connsiteX20" fmla="*/ 8521486 w 9144000"/>
              <a:gd name="connsiteY20" fmla="*/ 4195515 h 5143500"/>
              <a:gd name="connsiteX21" fmla="*/ 8501452 w 9144000"/>
              <a:gd name="connsiteY21" fmla="*/ 4193655 h 5143500"/>
              <a:gd name="connsiteX22" fmla="*/ 8481553 w 9144000"/>
              <a:gd name="connsiteY22" fmla="*/ 4192012 h 5143500"/>
              <a:gd name="connsiteX23" fmla="*/ 8461787 w 9144000"/>
              <a:gd name="connsiteY23" fmla="*/ 4190580 h 5143500"/>
              <a:gd name="connsiteX24" fmla="*/ 8442153 w 9144000"/>
              <a:gd name="connsiteY24" fmla="*/ 4189360 h 5143500"/>
              <a:gd name="connsiteX25" fmla="*/ 8422651 w 9144000"/>
              <a:gd name="connsiteY25" fmla="*/ 4188347 h 5143500"/>
              <a:gd name="connsiteX26" fmla="*/ 8403276 w 9144000"/>
              <a:gd name="connsiteY26" fmla="*/ 4187542 h 5143500"/>
              <a:gd name="connsiteX27" fmla="*/ 8384030 w 9144000"/>
              <a:gd name="connsiteY27" fmla="*/ 4186940 h 5143500"/>
              <a:gd name="connsiteX28" fmla="*/ 8364908 w 9144000"/>
              <a:gd name="connsiteY28" fmla="*/ 4186539 h 5143500"/>
              <a:gd name="connsiteX29" fmla="*/ 8345911 w 9144000"/>
              <a:gd name="connsiteY29" fmla="*/ 4186339 h 5143500"/>
              <a:gd name="connsiteX30" fmla="*/ 8327035 w 9144000"/>
              <a:gd name="connsiteY30" fmla="*/ 4186335 h 5143500"/>
              <a:gd name="connsiteX31" fmla="*/ 8308281 w 9144000"/>
              <a:gd name="connsiteY31" fmla="*/ 4186526 h 5143500"/>
              <a:gd name="connsiteX32" fmla="*/ 8289645 w 9144000"/>
              <a:gd name="connsiteY32" fmla="*/ 4186909 h 5143500"/>
              <a:gd name="connsiteX33" fmla="*/ 8271127 w 9144000"/>
              <a:gd name="connsiteY33" fmla="*/ 4187483 h 5143500"/>
              <a:gd name="connsiteX34" fmla="*/ 8252724 w 9144000"/>
              <a:gd name="connsiteY34" fmla="*/ 4188245 h 5143500"/>
              <a:gd name="connsiteX35" fmla="*/ 8234436 w 9144000"/>
              <a:gd name="connsiteY35" fmla="*/ 4189192 h 5143500"/>
              <a:gd name="connsiteX36" fmla="*/ 8216260 w 9144000"/>
              <a:gd name="connsiteY36" fmla="*/ 4190323 h 5143500"/>
              <a:gd name="connsiteX37" fmla="*/ 8198195 w 9144000"/>
              <a:gd name="connsiteY37" fmla="*/ 4191634 h 5143500"/>
              <a:gd name="connsiteX38" fmla="*/ 8180239 w 9144000"/>
              <a:gd name="connsiteY38" fmla="*/ 4193124 h 5143500"/>
              <a:gd name="connsiteX39" fmla="*/ 8162391 w 9144000"/>
              <a:gd name="connsiteY39" fmla="*/ 4194791 h 5143500"/>
              <a:gd name="connsiteX40" fmla="*/ 8144649 w 9144000"/>
              <a:gd name="connsiteY40" fmla="*/ 4196632 h 5143500"/>
              <a:gd name="connsiteX41" fmla="*/ 8127011 w 9144000"/>
              <a:gd name="connsiteY41" fmla="*/ 4198645 h 5143500"/>
              <a:gd name="connsiteX42" fmla="*/ 8109476 w 9144000"/>
              <a:gd name="connsiteY42" fmla="*/ 4200828 h 5143500"/>
              <a:gd name="connsiteX43" fmla="*/ 8092042 w 9144000"/>
              <a:gd name="connsiteY43" fmla="*/ 4203178 h 5143500"/>
              <a:gd name="connsiteX44" fmla="*/ 8074708 w 9144000"/>
              <a:gd name="connsiteY44" fmla="*/ 4205694 h 5143500"/>
              <a:gd name="connsiteX45" fmla="*/ 8057472 w 9144000"/>
              <a:gd name="connsiteY45" fmla="*/ 4208371 h 5143500"/>
              <a:gd name="connsiteX46" fmla="*/ 8040331 w 9144000"/>
              <a:gd name="connsiteY46" fmla="*/ 4211210 h 5143500"/>
              <a:gd name="connsiteX47" fmla="*/ 8006332 w 9144000"/>
              <a:gd name="connsiteY47" fmla="*/ 4217359 h 5143500"/>
              <a:gd name="connsiteX48" fmla="*/ 7972699 w 9144000"/>
              <a:gd name="connsiteY48" fmla="*/ 4224123 h 5143500"/>
              <a:gd name="connsiteX49" fmla="*/ 7922906 w 9144000"/>
              <a:gd name="connsiteY49" fmla="*/ 4235381 h 5143500"/>
              <a:gd name="connsiteX50" fmla="*/ 7890129 w 9144000"/>
              <a:gd name="connsiteY50" fmla="*/ 4243601 h 5143500"/>
              <a:gd name="connsiteX51" fmla="*/ 7857671 w 9144000"/>
              <a:gd name="connsiteY51" fmla="*/ 4252372 h 5143500"/>
              <a:gd name="connsiteX52" fmla="*/ 7825521 w 9144000"/>
              <a:gd name="connsiteY52" fmla="*/ 4261676 h 5143500"/>
              <a:gd name="connsiteX53" fmla="*/ 7793663 w 9144000"/>
              <a:gd name="connsiteY53" fmla="*/ 4271493 h 5143500"/>
              <a:gd name="connsiteX54" fmla="*/ 7762087 w 9144000"/>
              <a:gd name="connsiteY54" fmla="*/ 4281806 h 5143500"/>
              <a:gd name="connsiteX55" fmla="*/ 7730778 w 9144000"/>
              <a:gd name="connsiteY55" fmla="*/ 4292598 h 5143500"/>
              <a:gd name="connsiteX56" fmla="*/ 7699724 w 9144000"/>
              <a:gd name="connsiteY56" fmla="*/ 4303848 h 5143500"/>
              <a:gd name="connsiteX57" fmla="*/ 7668911 w 9144000"/>
              <a:gd name="connsiteY57" fmla="*/ 4315539 h 5143500"/>
              <a:gd name="connsiteX58" fmla="*/ 7638326 w 9144000"/>
              <a:gd name="connsiteY58" fmla="*/ 4327653 h 5143500"/>
              <a:gd name="connsiteX59" fmla="*/ 7607958 w 9144000"/>
              <a:gd name="connsiteY59" fmla="*/ 4340171 h 5143500"/>
              <a:gd name="connsiteX60" fmla="*/ 7577791 w 9144000"/>
              <a:gd name="connsiteY60" fmla="*/ 4353075 h 5143500"/>
              <a:gd name="connsiteX61" fmla="*/ 7547814 w 9144000"/>
              <a:gd name="connsiteY61" fmla="*/ 4366348 h 5143500"/>
              <a:gd name="connsiteX62" fmla="*/ 7518014 w 9144000"/>
              <a:gd name="connsiteY62" fmla="*/ 4379970 h 5143500"/>
              <a:gd name="connsiteX63" fmla="*/ 7473615 w 9144000"/>
              <a:gd name="connsiteY63" fmla="*/ 4401018 h 5143500"/>
              <a:gd name="connsiteX64" fmla="*/ 7429540 w 9144000"/>
              <a:gd name="connsiteY64" fmla="*/ 4422750 h 5143500"/>
              <a:gd name="connsiteX65" fmla="*/ 7385744 w 9144000"/>
              <a:gd name="connsiteY65" fmla="*/ 4445105 h 5143500"/>
              <a:gd name="connsiteX66" fmla="*/ 7342185 w 9144000"/>
              <a:gd name="connsiteY66" fmla="*/ 4468020 h 5143500"/>
              <a:gd name="connsiteX67" fmla="*/ 7284394 w 9144000"/>
              <a:gd name="connsiteY67" fmla="*/ 4499338 h 5143500"/>
              <a:gd name="connsiteX68" fmla="*/ 7198121 w 9144000"/>
              <a:gd name="connsiteY68" fmla="*/ 4547659 h 5143500"/>
              <a:gd name="connsiteX69" fmla="*/ 6982454 w 9144000"/>
              <a:gd name="connsiteY69" fmla="*/ 4672511 h 5143500"/>
              <a:gd name="connsiteX70" fmla="*/ 6821831 w 9144000"/>
              <a:gd name="connsiteY70" fmla="*/ 4764264 h 5143500"/>
              <a:gd name="connsiteX71" fmla="*/ 6747456 w 9144000"/>
              <a:gd name="connsiteY71" fmla="*/ 4805079 h 5143500"/>
              <a:gd name="connsiteX72" fmla="*/ 6687147 w 9144000"/>
              <a:gd name="connsiteY72" fmla="*/ 4837057 h 5143500"/>
              <a:gd name="connsiteX73" fmla="*/ 6641376 w 9144000"/>
              <a:gd name="connsiteY73" fmla="*/ 4860551 h 5143500"/>
              <a:gd name="connsiteX74" fmla="*/ 6595092 w 9144000"/>
              <a:gd name="connsiteY74" fmla="*/ 4883557 h 5143500"/>
              <a:gd name="connsiteX75" fmla="*/ 6548252 w 9144000"/>
              <a:gd name="connsiteY75" fmla="*/ 4906012 h 5143500"/>
              <a:gd name="connsiteX76" fmla="*/ 6500812 w 9144000"/>
              <a:gd name="connsiteY76" fmla="*/ 4927857 h 5143500"/>
              <a:gd name="connsiteX77" fmla="*/ 6468830 w 9144000"/>
              <a:gd name="connsiteY77" fmla="*/ 4942049 h 5143500"/>
              <a:gd name="connsiteX78" fmla="*/ 6436549 w 9144000"/>
              <a:gd name="connsiteY78" fmla="*/ 4955925 h 5143500"/>
              <a:gd name="connsiteX79" fmla="*/ 6403956 w 9144000"/>
              <a:gd name="connsiteY79" fmla="*/ 4969464 h 5143500"/>
              <a:gd name="connsiteX80" fmla="*/ 6371038 w 9144000"/>
              <a:gd name="connsiteY80" fmla="*/ 4982650 h 5143500"/>
              <a:gd name="connsiteX81" fmla="*/ 6337781 w 9144000"/>
              <a:gd name="connsiteY81" fmla="*/ 4995463 h 5143500"/>
              <a:gd name="connsiteX82" fmla="*/ 6304173 w 9144000"/>
              <a:gd name="connsiteY82" fmla="*/ 5007886 h 5143500"/>
              <a:gd name="connsiteX83" fmla="*/ 6270200 w 9144000"/>
              <a:gd name="connsiteY83" fmla="*/ 5019900 h 5143500"/>
              <a:gd name="connsiteX84" fmla="*/ 6235850 w 9144000"/>
              <a:gd name="connsiteY84" fmla="*/ 5031487 h 5143500"/>
              <a:gd name="connsiteX85" fmla="*/ 6201110 w 9144000"/>
              <a:gd name="connsiteY85" fmla="*/ 5042628 h 5143500"/>
              <a:gd name="connsiteX86" fmla="*/ 6165966 w 9144000"/>
              <a:gd name="connsiteY86" fmla="*/ 5053306 h 5143500"/>
              <a:gd name="connsiteX87" fmla="*/ 6130405 w 9144000"/>
              <a:gd name="connsiteY87" fmla="*/ 5063502 h 5143500"/>
              <a:gd name="connsiteX88" fmla="*/ 6094415 w 9144000"/>
              <a:gd name="connsiteY88" fmla="*/ 5073197 h 5143500"/>
              <a:gd name="connsiteX89" fmla="*/ 6057982 w 9144000"/>
              <a:gd name="connsiteY89" fmla="*/ 5082374 h 5143500"/>
              <a:gd name="connsiteX90" fmla="*/ 6021094 w 9144000"/>
              <a:gd name="connsiteY90" fmla="*/ 5091015 h 5143500"/>
              <a:gd name="connsiteX91" fmla="*/ 5983737 w 9144000"/>
              <a:gd name="connsiteY91" fmla="*/ 5099100 h 5143500"/>
              <a:gd name="connsiteX92" fmla="*/ 5945899 w 9144000"/>
              <a:gd name="connsiteY92" fmla="*/ 5106612 h 5143500"/>
              <a:gd name="connsiteX93" fmla="*/ 5907565 w 9144000"/>
              <a:gd name="connsiteY93" fmla="*/ 5113533 h 5143500"/>
              <a:gd name="connsiteX94" fmla="*/ 5868724 w 9144000"/>
              <a:gd name="connsiteY94" fmla="*/ 5119842 h 5143500"/>
              <a:gd name="connsiteX95" fmla="*/ 5829363 w 9144000"/>
              <a:gd name="connsiteY95" fmla="*/ 5125525 h 5143500"/>
              <a:gd name="connsiteX96" fmla="*/ 5789467 w 9144000"/>
              <a:gd name="connsiteY96" fmla="*/ 5130561 h 5143500"/>
              <a:gd name="connsiteX97" fmla="*/ 5749025 w 9144000"/>
              <a:gd name="connsiteY97" fmla="*/ 5134932 h 5143500"/>
              <a:gd name="connsiteX98" fmla="*/ 5708022 w 9144000"/>
              <a:gd name="connsiteY98" fmla="*/ 5138621 h 5143500"/>
              <a:gd name="connsiteX99" fmla="*/ 5666447 w 9144000"/>
              <a:gd name="connsiteY99" fmla="*/ 5141607 h 5143500"/>
              <a:gd name="connsiteX100" fmla="*/ 5631259 w 9144000"/>
              <a:gd name="connsiteY100" fmla="*/ 5143500 h 5143500"/>
              <a:gd name="connsiteX101" fmla="*/ 0 w 9144000"/>
              <a:gd name="connsiteY10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9144000" h="5143500">
                <a:moveTo>
                  <a:pt x="0" y="0"/>
                </a:moveTo>
                <a:lnTo>
                  <a:pt x="9144000" y="0"/>
                </a:lnTo>
                <a:lnTo>
                  <a:pt x="9144000" y="4345781"/>
                </a:lnTo>
                <a:lnTo>
                  <a:pt x="9143998" y="4345781"/>
                </a:lnTo>
                <a:lnTo>
                  <a:pt x="9143998" y="4344285"/>
                </a:lnTo>
                <a:lnTo>
                  <a:pt x="9095210" y="4326932"/>
                </a:lnTo>
                <a:lnTo>
                  <a:pt x="9047139" y="4310686"/>
                </a:lnTo>
                <a:lnTo>
                  <a:pt x="8999773" y="4295530"/>
                </a:lnTo>
                <a:lnTo>
                  <a:pt x="8953098" y="4281446"/>
                </a:lnTo>
                <a:lnTo>
                  <a:pt x="8907100" y="4268415"/>
                </a:lnTo>
                <a:lnTo>
                  <a:pt x="8861767" y="4256419"/>
                </a:lnTo>
                <a:lnTo>
                  <a:pt x="8817087" y="4245439"/>
                </a:lnTo>
                <a:lnTo>
                  <a:pt x="8773046" y="4235458"/>
                </a:lnTo>
                <a:lnTo>
                  <a:pt x="8729631" y="4226457"/>
                </a:lnTo>
                <a:lnTo>
                  <a:pt x="8686828" y="4218418"/>
                </a:lnTo>
                <a:lnTo>
                  <a:pt x="8644625" y="4211323"/>
                </a:lnTo>
                <a:lnTo>
                  <a:pt x="8603009" y="4205153"/>
                </a:lnTo>
                <a:lnTo>
                  <a:pt x="8582418" y="4202409"/>
                </a:lnTo>
                <a:lnTo>
                  <a:pt x="8561967" y="4199890"/>
                </a:lnTo>
                <a:lnTo>
                  <a:pt x="8541658" y="4197593"/>
                </a:lnTo>
                <a:lnTo>
                  <a:pt x="8521486" y="4195515"/>
                </a:lnTo>
                <a:lnTo>
                  <a:pt x="8501452" y="4193655"/>
                </a:lnTo>
                <a:lnTo>
                  <a:pt x="8481553" y="4192012"/>
                </a:lnTo>
                <a:lnTo>
                  <a:pt x="8461787" y="4190580"/>
                </a:lnTo>
                <a:lnTo>
                  <a:pt x="8442153" y="4189360"/>
                </a:lnTo>
                <a:lnTo>
                  <a:pt x="8422651" y="4188347"/>
                </a:lnTo>
                <a:lnTo>
                  <a:pt x="8403276" y="4187542"/>
                </a:lnTo>
                <a:lnTo>
                  <a:pt x="8384030" y="4186940"/>
                </a:lnTo>
                <a:lnTo>
                  <a:pt x="8364908" y="4186539"/>
                </a:lnTo>
                <a:lnTo>
                  <a:pt x="8345911" y="4186339"/>
                </a:lnTo>
                <a:lnTo>
                  <a:pt x="8327035" y="4186335"/>
                </a:lnTo>
                <a:lnTo>
                  <a:pt x="8308281" y="4186526"/>
                </a:lnTo>
                <a:lnTo>
                  <a:pt x="8289645" y="4186909"/>
                </a:lnTo>
                <a:lnTo>
                  <a:pt x="8271127" y="4187483"/>
                </a:lnTo>
                <a:lnTo>
                  <a:pt x="8252724" y="4188245"/>
                </a:lnTo>
                <a:lnTo>
                  <a:pt x="8234436" y="4189192"/>
                </a:lnTo>
                <a:lnTo>
                  <a:pt x="8216260" y="4190323"/>
                </a:lnTo>
                <a:lnTo>
                  <a:pt x="8198195" y="4191634"/>
                </a:lnTo>
                <a:lnTo>
                  <a:pt x="8180239" y="4193124"/>
                </a:lnTo>
                <a:lnTo>
                  <a:pt x="8162391" y="4194791"/>
                </a:lnTo>
                <a:lnTo>
                  <a:pt x="8144649" y="4196632"/>
                </a:lnTo>
                <a:lnTo>
                  <a:pt x="8127011" y="4198645"/>
                </a:lnTo>
                <a:lnTo>
                  <a:pt x="8109476" y="4200828"/>
                </a:lnTo>
                <a:lnTo>
                  <a:pt x="8092042" y="4203178"/>
                </a:lnTo>
                <a:lnTo>
                  <a:pt x="8074708" y="4205694"/>
                </a:lnTo>
                <a:lnTo>
                  <a:pt x="8057472" y="4208371"/>
                </a:lnTo>
                <a:lnTo>
                  <a:pt x="8040331" y="4211210"/>
                </a:lnTo>
                <a:lnTo>
                  <a:pt x="8006332" y="4217359"/>
                </a:lnTo>
                <a:lnTo>
                  <a:pt x="7972699" y="4224123"/>
                </a:lnTo>
                <a:lnTo>
                  <a:pt x="7922906" y="4235381"/>
                </a:lnTo>
                <a:lnTo>
                  <a:pt x="7890129" y="4243601"/>
                </a:lnTo>
                <a:lnTo>
                  <a:pt x="7857671" y="4252372"/>
                </a:lnTo>
                <a:lnTo>
                  <a:pt x="7825521" y="4261676"/>
                </a:lnTo>
                <a:lnTo>
                  <a:pt x="7793663" y="4271493"/>
                </a:lnTo>
                <a:lnTo>
                  <a:pt x="7762087" y="4281806"/>
                </a:lnTo>
                <a:lnTo>
                  <a:pt x="7730778" y="4292598"/>
                </a:lnTo>
                <a:lnTo>
                  <a:pt x="7699724" y="4303848"/>
                </a:lnTo>
                <a:lnTo>
                  <a:pt x="7668911" y="4315539"/>
                </a:lnTo>
                <a:lnTo>
                  <a:pt x="7638326" y="4327653"/>
                </a:lnTo>
                <a:lnTo>
                  <a:pt x="7607958" y="4340171"/>
                </a:lnTo>
                <a:lnTo>
                  <a:pt x="7577791" y="4353075"/>
                </a:lnTo>
                <a:lnTo>
                  <a:pt x="7547814" y="4366348"/>
                </a:lnTo>
                <a:lnTo>
                  <a:pt x="7518014" y="4379970"/>
                </a:lnTo>
                <a:lnTo>
                  <a:pt x="7473615" y="4401018"/>
                </a:lnTo>
                <a:lnTo>
                  <a:pt x="7429540" y="4422750"/>
                </a:lnTo>
                <a:lnTo>
                  <a:pt x="7385744" y="4445105"/>
                </a:lnTo>
                <a:lnTo>
                  <a:pt x="7342185" y="4468020"/>
                </a:lnTo>
                <a:lnTo>
                  <a:pt x="7284394" y="4499338"/>
                </a:lnTo>
                <a:lnTo>
                  <a:pt x="7198121" y="4547659"/>
                </a:lnTo>
                <a:lnTo>
                  <a:pt x="6982454" y="4672511"/>
                </a:lnTo>
                <a:lnTo>
                  <a:pt x="6821831" y="4764264"/>
                </a:lnTo>
                <a:lnTo>
                  <a:pt x="6747456" y="4805079"/>
                </a:lnTo>
                <a:lnTo>
                  <a:pt x="6687147" y="4837057"/>
                </a:lnTo>
                <a:lnTo>
                  <a:pt x="6641376" y="4860551"/>
                </a:lnTo>
                <a:lnTo>
                  <a:pt x="6595092" y="4883557"/>
                </a:lnTo>
                <a:lnTo>
                  <a:pt x="6548252" y="4906012"/>
                </a:lnTo>
                <a:lnTo>
                  <a:pt x="6500812" y="4927857"/>
                </a:lnTo>
                <a:lnTo>
                  <a:pt x="6468830" y="4942049"/>
                </a:lnTo>
                <a:lnTo>
                  <a:pt x="6436549" y="4955925"/>
                </a:lnTo>
                <a:lnTo>
                  <a:pt x="6403956" y="4969464"/>
                </a:lnTo>
                <a:lnTo>
                  <a:pt x="6371038" y="4982650"/>
                </a:lnTo>
                <a:lnTo>
                  <a:pt x="6337781" y="4995463"/>
                </a:lnTo>
                <a:lnTo>
                  <a:pt x="6304173" y="5007886"/>
                </a:lnTo>
                <a:lnTo>
                  <a:pt x="6270200" y="5019900"/>
                </a:lnTo>
                <a:lnTo>
                  <a:pt x="6235850" y="5031487"/>
                </a:lnTo>
                <a:lnTo>
                  <a:pt x="6201110" y="5042628"/>
                </a:lnTo>
                <a:lnTo>
                  <a:pt x="6165966" y="5053306"/>
                </a:lnTo>
                <a:lnTo>
                  <a:pt x="6130405" y="5063502"/>
                </a:lnTo>
                <a:lnTo>
                  <a:pt x="6094415" y="5073197"/>
                </a:lnTo>
                <a:lnTo>
                  <a:pt x="6057982" y="5082374"/>
                </a:lnTo>
                <a:lnTo>
                  <a:pt x="6021094" y="5091015"/>
                </a:lnTo>
                <a:lnTo>
                  <a:pt x="5983737" y="5099100"/>
                </a:lnTo>
                <a:lnTo>
                  <a:pt x="5945899" y="5106612"/>
                </a:lnTo>
                <a:lnTo>
                  <a:pt x="5907565" y="5113533"/>
                </a:lnTo>
                <a:lnTo>
                  <a:pt x="5868724" y="5119842"/>
                </a:lnTo>
                <a:lnTo>
                  <a:pt x="5829363" y="5125525"/>
                </a:lnTo>
                <a:lnTo>
                  <a:pt x="5789467" y="5130561"/>
                </a:lnTo>
                <a:lnTo>
                  <a:pt x="5749025" y="5134932"/>
                </a:lnTo>
                <a:lnTo>
                  <a:pt x="5708022" y="5138621"/>
                </a:lnTo>
                <a:lnTo>
                  <a:pt x="5666447" y="5141607"/>
                </a:lnTo>
                <a:lnTo>
                  <a:pt x="5631259" y="5143500"/>
                </a:lnTo>
                <a:lnTo>
                  <a:pt x="0" y="5143500"/>
                </a:lnTo>
                <a:close/>
              </a:path>
            </a:pathLst>
          </a:custGeom>
          <a:solidFill>
            <a:schemeClr val="accent6"/>
          </a:solidFill>
          <a:ln>
            <a:noFill/>
          </a:ln>
        </p:spPr>
        <p:txBody>
          <a:bodyPr wrap="square" anchor="b">
            <a:noAutofit/>
          </a:bodyPr>
          <a:lstStyle>
            <a:lvl1pPr marL="0" indent="0" algn="ctr">
              <a:buNone/>
              <a:defRPr sz="2183" b="0">
                <a:solidFill>
                  <a:schemeClr val="accent1"/>
                </a:solidFill>
              </a:defRPr>
            </a:lvl1pPr>
          </a:lstStyle>
          <a:p>
            <a:r>
              <a:rPr lang="en-GB" dirty="0"/>
              <a:t>   </a:t>
            </a:r>
          </a:p>
        </p:txBody>
      </p:sp>
      <p:sp>
        <p:nvSpPr>
          <p:cNvPr id="5" name="Text Placeholder 4">
            <a:extLst>
              <a:ext uri="{FF2B5EF4-FFF2-40B4-BE49-F238E27FC236}">
                <a16:creationId xmlns:a16="http://schemas.microsoft.com/office/drawing/2014/main" id="{CD9199F2-FD0B-48CB-BF88-E2A9677AD29D}"/>
              </a:ext>
            </a:extLst>
          </p:cNvPr>
          <p:cNvSpPr>
            <a:spLocks noGrp="1"/>
          </p:cNvSpPr>
          <p:nvPr>
            <p:ph type="body" sz="quarter" idx="10"/>
          </p:nvPr>
        </p:nvSpPr>
        <p:spPr>
          <a:xfrm>
            <a:off x="432001" y="5120019"/>
            <a:ext cx="5424816" cy="1333699"/>
          </a:xfrm>
        </p:spPr>
        <p:txBody>
          <a:bodyPr anchor="b"/>
          <a:lstStyle>
            <a:lvl1pPr>
              <a:defRPr sz="1200" b="1">
                <a:solidFill>
                  <a:schemeClr val="tx1"/>
                </a:solidFill>
              </a:defRPr>
            </a:lvl1pPr>
            <a:lvl2pPr>
              <a:defRPr sz="1200" b="0">
                <a:solidFill>
                  <a:schemeClr val="tx1"/>
                </a:solidFill>
              </a:defRPr>
            </a:lvl2pPr>
            <a:lvl3pPr marL="0" indent="0">
              <a:buFontTx/>
              <a:buNone/>
              <a:defRPr sz="1200" b="0">
                <a:solidFill>
                  <a:schemeClr val="tx1"/>
                </a:solidFill>
              </a:defRPr>
            </a:lvl3pPr>
            <a:lvl4pPr marL="0" indent="0">
              <a:buFontTx/>
              <a:buNone/>
              <a:defRPr sz="1200" b="0">
                <a:solidFill>
                  <a:schemeClr val="tx1"/>
                </a:solidFill>
              </a:defRPr>
            </a:lvl4pPr>
            <a:lvl5pPr marL="0" indent="0">
              <a:buFontTx/>
              <a:buNone/>
              <a:defRPr sz="1200"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a:extLst>
              <a:ext uri="{FF2B5EF4-FFF2-40B4-BE49-F238E27FC236}">
                <a16:creationId xmlns:a16="http://schemas.microsoft.com/office/drawing/2014/main" id="{DD4BF8BF-9CAC-4BF8-B555-D6E364C618FB}"/>
              </a:ext>
            </a:extLst>
          </p:cNvPr>
          <p:cNvPicPr>
            <a:picLocks noChangeAspect="1"/>
          </p:cNvPicPr>
          <p:nvPr userDrawn="1"/>
        </p:nvPicPr>
        <p:blipFill>
          <a:blip r:embed="rId2"/>
          <a:stretch>
            <a:fillRect/>
          </a:stretch>
        </p:blipFill>
        <p:spPr>
          <a:xfrm>
            <a:off x="9965223" y="6237768"/>
            <a:ext cx="1794176" cy="268024"/>
          </a:xfrm>
          <a:prstGeom prst="rect">
            <a:avLst/>
          </a:prstGeom>
        </p:spPr>
      </p:pic>
    </p:spTree>
    <p:extLst>
      <p:ext uri="{BB962C8B-B14F-4D97-AF65-F5344CB8AC3E}">
        <p14:creationId xmlns:p14="http://schemas.microsoft.com/office/powerpoint/2010/main" val="3870934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D93202-ABC8-43FB-AC03-1A7B6709210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97875034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3B733F-036F-486F-8C1F-67849ABBFB1B}"/>
              </a:ext>
            </a:extLst>
          </p:cNvPr>
          <p:cNvSpPr>
            <a:spLocks noGrp="1"/>
          </p:cNvSpPr>
          <p:nvPr>
            <p:ph type="title"/>
          </p:nvPr>
        </p:nvSpPr>
        <p:spPr/>
        <p:txBody>
          <a:bodyPr/>
          <a:lstStyle/>
          <a:p>
            <a:r>
              <a:rPr lang="en-US"/>
              <a:t>Click to edit Master title style</a:t>
            </a:r>
            <a:endParaRPr lang="en-GB"/>
          </a:p>
        </p:txBody>
      </p:sp>
      <p:grpSp>
        <p:nvGrpSpPr>
          <p:cNvPr id="10" name="Guidance note">
            <a:extLst>
              <a:ext uri="{FF2B5EF4-FFF2-40B4-BE49-F238E27FC236}">
                <a16:creationId xmlns:a16="http://schemas.microsoft.com/office/drawing/2014/main" id="{632E5E5C-A081-4838-96EC-2018DFBEF9DF}"/>
              </a:ext>
            </a:extLst>
          </p:cNvPr>
          <p:cNvGrpSpPr/>
          <p:nvPr userDrawn="1"/>
        </p:nvGrpSpPr>
        <p:grpSpPr>
          <a:xfrm>
            <a:off x="12514259" y="-2970"/>
            <a:ext cx="2576459" cy="3511851"/>
            <a:chOff x="10925224" y="286"/>
            <a:chExt cx="2952328" cy="4024464"/>
          </a:xfrm>
        </p:grpSpPr>
        <p:sp>
          <p:nvSpPr>
            <p:cNvPr id="11" name="Guidance note">
              <a:extLst>
                <a:ext uri="{FF2B5EF4-FFF2-40B4-BE49-F238E27FC236}">
                  <a16:creationId xmlns:a16="http://schemas.microsoft.com/office/drawing/2014/main" id="{F2B4E9B4-10AE-4C7E-A99E-957BC1A5812F}"/>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12" name="Group 11">
              <a:extLst>
                <a:ext uri="{FF2B5EF4-FFF2-40B4-BE49-F238E27FC236}">
                  <a16:creationId xmlns:a16="http://schemas.microsoft.com/office/drawing/2014/main" id="{35B4912A-59FA-4C90-8A6A-AA719C24026F}"/>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13" name="Picture 3">
                <a:extLst>
                  <a:ext uri="{FF2B5EF4-FFF2-40B4-BE49-F238E27FC236}">
                    <a16:creationId xmlns:a16="http://schemas.microsoft.com/office/drawing/2014/main" id="{647D2EDA-3121-42A7-B61A-59C5E65D0AB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14" name="Rounded Rectangle 20">
                <a:extLst>
                  <a:ext uri="{FF2B5EF4-FFF2-40B4-BE49-F238E27FC236}">
                    <a16:creationId xmlns:a16="http://schemas.microsoft.com/office/drawing/2014/main" id="{3A65E115-1B05-4D6A-8D9B-23B56711CDAE}"/>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432001" y="1416667"/>
            <a:ext cx="11327399"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46871220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E4F340-DC34-40A9-AAD0-1975F2301B87}"/>
              </a:ext>
            </a:extLst>
          </p:cNvPr>
          <p:cNvSpPr>
            <a:spLocks noGrp="1"/>
          </p:cNvSpPr>
          <p:nvPr>
            <p:ph type="title"/>
          </p:nvPr>
        </p:nvSpPr>
        <p:spPr/>
        <p:txBody>
          <a:bodyPr/>
          <a:lstStyle/>
          <a:p>
            <a:r>
              <a:rPr lang="en-US"/>
              <a:t>Click to edit Master title style</a:t>
            </a:r>
            <a:endParaRPr lang="en-GB"/>
          </a:p>
        </p:txBody>
      </p:sp>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432000" y="1416667"/>
            <a:ext cx="5424817"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6335184" y="1416667"/>
            <a:ext cx="5424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24" name="Guidance note">
            <a:extLst>
              <a:ext uri="{FF2B5EF4-FFF2-40B4-BE49-F238E27FC236}">
                <a16:creationId xmlns:a16="http://schemas.microsoft.com/office/drawing/2014/main" id="{F560F193-177D-4395-B1BB-A42292DDC151}"/>
              </a:ext>
            </a:extLst>
          </p:cNvPr>
          <p:cNvGrpSpPr/>
          <p:nvPr userDrawn="1"/>
        </p:nvGrpSpPr>
        <p:grpSpPr>
          <a:xfrm>
            <a:off x="12514259" y="-2970"/>
            <a:ext cx="2576459" cy="3511851"/>
            <a:chOff x="10925224" y="286"/>
            <a:chExt cx="2952328" cy="4024464"/>
          </a:xfrm>
        </p:grpSpPr>
        <p:sp>
          <p:nvSpPr>
            <p:cNvPr id="25" name="Guidance note">
              <a:extLst>
                <a:ext uri="{FF2B5EF4-FFF2-40B4-BE49-F238E27FC236}">
                  <a16:creationId xmlns:a16="http://schemas.microsoft.com/office/drawing/2014/main" id="{AF29402F-0B0A-44A5-B263-0C8C1E5B7779}"/>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26" name="Group 25">
              <a:extLst>
                <a:ext uri="{FF2B5EF4-FFF2-40B4-BE49-F238E27FC236}">
                  <a16:creationId xmlns:a16="http://schemas.microsoft.com/office/drawing/2014/main" id="{75E3892D-FEFD-4962-9795-DC2F17463B75}"/>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27" name="Picture 3">
                <a:extLst>
                  <a:ext uri="{FF2B5EF4-FFF2-40B4-BE49-F238E27FC236}">
                    <a16:creationId xmlns:a16="http://schemas.microsoft.com/office/drawing/2014/main" id="{1EE9A39B-0904-456F-B59F-2F4E55120FA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7992D0BE-FA95-458F-8ED2-677D7AE90B42}"/>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2236334238"/>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7B61B7-ECC6-4ABC-9069-45A9590FC629}"/>
              </a:ext>
            </a:extLst>
          </p:cNvPr>
          <p:cNvSpPr>
            <a:spLocks noGrp="1"/>
          </p:cNvSpPr>
          <p:nvPr>
            <p:ph type="title"/>
          </p:nvPr>
        </p:nvSpPr>
        <p:spPr/>
        <p:txBody>
          <a:bodyPr/>
          <a:lstStyle/>
          <a:p>
            <a:r>
              <a:rPr lang="en-US"/>
              <a:t>Click to edit Master title style</a:t>
            </a:r>
            <a:endParaRPr lang="en-GB"/>
          </a:p>
        </p:txBody>
      </p:sp>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432001" y="1416667"/>
            <a:ext cx="3456319"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800" y="1416667"/>
            <a:ext cx="3456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5281" y="1416667"/>
            <a:ext cx="3456000" cy="2092880"/>
          </a:xfr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25" name="Guidance note">
            <a:extLst>
              <a:ext uri="{FF2B5EF4-FFF2-40B4-BE49-F238E27FC236}">
                <a16:creationId xmlns:a16="http://schemas.microsoft.com/office/drawing/2014/main" id="{8D58E090-A402-4396-9C34-AACC618598E9}"/>
              </a:ext>
            </a:extLst>
          </p:cNvPr>
          <p:cNvGrpSpPr/>
          <p:nvPr userDrawn="1"/>
        </p:nvGrpSpPr>
        <p:grpSpPr>
          <a:xfrm>
            <a:off x="12514259" y="-2970"/>
            <a:ext cx="2576459" cy="3511851"/>
            <a:chOff x="10925224" y="286"/>
            <a:chExt cx="2952328" cy="4024464"/>
          </a:xfrm>
        </p:grpSpPr>
        <p:sp>
          <p:nvSpPr>
            <p:cNvPr id="26" name="Guidance note">
              <a:extLst>
                <a:ext uri="{FF2B5EF4-FFF2-40B4-BE49-F238E27FC236}">
                  <a16:creationId xmlns:a16="http://schemas.microsoft.com/office/drawing/2014/main" id="{9007DA49-FBBA-426F-8BA1-C45A5B9C3B51}"/>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27" name="Group 26">
              <a:extLst>
                <a:ext uri="{FF2B5EF4-FFF2-40B4-BE49-F238E27FC236}">
                  <a16:creationId xmlns:a16="http://schemas.microsoft.com/office/drawing/2014/main" id="{7A2C458C-0867-42D1-96EC-960A20373E59}"/>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28" name="Picture 3">
                <a:extLst>
                  <a:ext uri="{FF2B5EF4-FFF2-40B4-BE49-F238E27FC236}">
                    <a16:creationId xmlns:a16="http://schemas.microsoft.com/office/drawing/2014/main" id="{317CCC4E-121E-4D81-894F-BC8D76CF9CC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FDB760BE-4E51-4DA4-A2FA-EA5369BB40F7}"/>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4132765778"/>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7B61B7-ECC6-4ABC-9069-45A9590FC629}"/>
              </a:ext>
            </a:extLst>
          </p:cNvPr>
          <p:cNvSpPr>
            <a:spLocks noGrp="1"/>
          </p:cNvSpPr>
          <p:nvPr>
            <p:ph type="title"/>
          </p:nvPr>
        </p:nvSpPr>
        <p:spPr/>
        <p:txBody>
          <a:bodyPr/>
          <a:lstStyle/>
          <a:p>
            <a:r>
              <a:rPr lang="en-US"/>
              <a:t>Click to edit Master title style</a:t>
            </a:r>
            <a:endParaRPr lang="en-GB"/>
          </a:p>
        </p:txBody>
      </p:sp>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432000" y="1416667"/>
            <a:ext cx="5424817"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337301" y="1416051"/>
            <a:ext cx="5402583" cy="4605867"/>
          </a:xfrm>
          <a:solidFill>
            <a:schemeClr val="bg1">
              <a:lumMod val="95000"/>
            </a:schemeClr>
          </a:solidFill>
        </p:spPr>
        <p:txBody>
          <a:bodyPr anchor="ctr">
            <a:noAutofit/>
          </a:bodyPr>
          <a:lstStyle>
            <a:lvl1pPr algn="ctr">
              <a:defRPr/>
            </a:lvl1pPr>
          </a:lstStyle>
          <a:p>
            <a:r>
              <a:rPr lang="en-GB" dirty="0"/>
              <a:t>INSERT PICTURE</a:t>
            </a:r>
          </a:p>
        </p:txBody>
      </p:sp>
      <p:grpSp>
        <p:nvGrpSpPr>
          <p:cNvPr id="22" name="Guidance note">
            <a:extLst>
              <a:ext uri="{FF2B5EF4-FFF2-40B4-BE49-F238E27FC236}">
                <a16:creationId xmlns:a16="http://schemas.microsoft.com/office/drawing/2014/main" id="{01782A72-73F6-4D14-8B35-52467DA934D1}"/>
              </a:ext>
            </a:extLst>
          </p:cNvPr>
          <p:cNvGrpSpPr/>
          <p:nvPr userDrawn="1"/>
        </p:nvGrpSpPr>
        <p:grpSpPr>
          <a:xfrm>
            <a:off x="12514259" y="-2970"/>
            <a:ext cx="2576459" cy="3511851"/>
            <a:chOff x="10925224" y="286"/>
            <a:chExt cx="2952328" cy="4024464"/>
          </a:xfrm>
        </p:grpSpPr>
        <p:sp>
          <p:nvSpPr>
            <p:cNvPr id="23" name="Guidance note">
              <a:extLst>
                <a:ext uri="{FF2B5EF4-FFF2-40B4-BE49-F238E27FC236}">
                  <a16:creationId xmlns:a16="http://schemas.microsoft.com/office/drawing/2014/main" id="{BA2FA1E4-352E-4936-9547-427ED8A3A4D0}"/>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24" name="Group 23">
              <a:extLst>
                <a:ext uri="{FF2B5EF4-FFF2-40B4-BE49-F238E27FC236}">
                  <a16:creationId xmlns:a16="http://schemas.microsoft.com/office/drawing/2014/main" id="{7CA143A2-801C-4CD0-8D12-326B73247494}"/>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25" name="Picture 3">
                <a:extLst>
                  <a:ext uri="{FF2B5EF4-FFF2-40B4-BE49-F238E27FC236}">
                    <a16:creationId xmlns:a16="http://schemas.microsoft.com/office/drawing/2014/main" id="{5C9ED126-1C4E-4635-A8FB-BCBFE68F79E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36520D67-05A8-460E-B163-63A8C5C3076E}"/>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372103496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7B61B7-ECC6-4ABC-9069-45A9590FC629}"/>
              </a:ext>
            </a:extLst>
          </p:cNvPr>
          <p:cNvSpPr>
            <a:spLocks noGrp="1"/>
          </p:cNvSpPr>
          <p:nvPr>
            <p:ph type="title"/>
          </p:nvPr>
        </p:nvSpPr>
        <p:spPr/>
        <p:txBody>
          <a:bodyPr/>
          <a:lstStyle/>
          <a:p>
            <a:r>
              <a:rPr lang="en-US"/>
              <a:t>Click to edit Master title style</a:t>
            </a:r>
            <a:endParaRPr lang="en-GB"/>
          </a:p>
        </p:txBody>
      </p:sp>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431999" y="1416667"/>
            <a:ext cx="3456000" cy="4605251"/>
          </a:xfrm>
          <a:solidFill>
            <a:schemeClr val="accent1"/>
          </a:solidFill>
        </p:spPr>
        <p:txBody>
          <a:bodyPr wrap="square" lIns="144000" tIns="144000" rIns="144000" bIns="144000">
            <a:noAutofit/>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000" y="1416667"/>
            <a:ext cx="3456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4000" y="1416667"/>
            <a:ext cx="3456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25" name="Guidance note">
            <a:extLst>
              <a:ext uri="{FF2B5EF4-FFF2-40B4-BE49-F238E27FC236}">
                <a16:creationId xmlns:a16="http://schemas.microsoft.com/office/drawing/2014/main" id="{4C75A555-DA44-4479-9698-0614FBA84EB2}"/>
              </a:ext>
            </a:extLst>
          </p:cNvPr>
          <p:cNvGrpSpPr/>
          <p:nvPr userDrawn="1"/>
        </p:nvGrpSpPr>
        <p:grpSpPr>
          <a:xfrm>
            <a:off x="12514259" y="-2970"/>
            <a:ext cx="2576459" cy="3511851"/>
            <a:chOff x="10925224" y="286"/>
            <a:chExt cx="2952328" cy="4024464"/>
          </a:xfrm>
        </p:grpSpPr>
        <p:sp>
          <p:nvSpPr>
            <p:cNvPr id="26" name="Guidance note">
              <a:extLst>
                <a:ext uri="{FF2B5EF4-FFF2-40B4-BE49-F238E27FC236}">
                  <a16:creationId xmlns:a16="http://schemas.microsoft.com/office/drawing/2014/main" id="{C63E074A-E363-483E-970D-D9D5B8E95E9E}"/>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27" name="Group 26">
              <a:extLst>
                <a:ext uri="{FF2B5EF4-FFF2-40B4-BE49-F238E27FC236}">
                  <a16:creationId xmlns:a16="http://schemas.microsoft.com/office/drawing/2014/main" id="{896FFC9E-ABDE-4220-B6F9-2A72B081BE11}"/>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28" name="Picture 3">
                <a:extLst>
                  <a:ext uri="{FF2B5EF4-FFF2-40B4-BE49-F238E27FC236}">
                    <a16:creationId xmlns:a16="http://schemas.microsoft.com/office/drawing/2014/main" id="{783C9DE9-FE0B-4105-9B20-8A9F98F20D6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02F88B-920A-4BBA-AA4D-ABF9A90CB5A1}"/>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1471138798"/>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7B61B7-ECC6-4ABC-9069-45A9590FC629}"/>
              </a:ext>
            </a:extLst>
          </p:cNvPr>
          <p:cNvSpPr>
            <a:spLocks noGrp="1"/>
          </p:cNvSpPr>
          <p:nvPr>
            <p:ph type="title"/>
          </p:nvPr>
        </p:nvSpPr>
        <p:spPr/>
        <p:txBody>
          <a:bodyPr/>
          <a:lstStyle/>
          <a:p>
            <a:r>
              <a:rPr lang="en-US"/>
              <a:t>Click to edit Master title style</a:t>
            </a:r>
            <a:endParaRPr lang="en-GB"/>
          </a:p>
        </p:txBody>
      </p:sp>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8304000" y="1416667"/>
            <a:ext cx="3456000" cy="4605251"/>
          </a:xfrm>
          <a:solidFill>
            <a:schemeClr val="accent1"/>
          </a:solidFill>
        </p:spPr>
        <p:txBody>
          <a:bodyPr wrap="square" lIns="144000" tIns="144000" rIns="144000" bIns="144000">
            <a:noAutofit/>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000" y="1416667"/>
            <a:ext cx="3456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431999" y="1416667"/>
            <a:ext cx="3456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25" name="Guidance note">
            <a:extLst>
              <a:ext uri="{FF2B5EF4-FFF2-40B4-BE49-F238E27FC236}">
                <a16:creationId xmlns:a16="http://schemas.microsoft.com/office/drawing/2014/main" id="{8D653A98-CF56-446A-9721-D28CD48D3FD4}"/>
              </a:ext>
            </a:extLst>
          </p:cNvPr>
          <p:cNvGrpSpPr/>
          <p:nvPr userDrawn="1"/>
        </p:nvGrpSpPr>
        <p:grpSpPr>
          <a:xfrm>
            <a:off x="12514259" y="-2970"/>
            <a:ext cx="2576459" cy="3511851"/>
            <a:chOff x="10925224" y="286"/>
            <a:chExt cx="2952328" cy="4024464"/>
          </a:xfrm>
        </p:grpSpPr>
        <p:sp>
          <p:nvSpPr>
            <p:cNvPr id="26" name="Guidance note">
              <a:extLst>
                <a:ext uri="{FF2B5EF4-FFF2-40B4-BE49-F238E27FC236}">
                  <a16:creationId xmlns:a16="http://schemas.microsoft.com/office/drawing/2014/main" id="{8C9C3EDE-A918-437D-A5D8-7697D56218DE}"/>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27" name="Group 26">
              <a:extLst>
                <a:ext uri="{FF2B5EF4-FFF2-40B4-BE49-F238E27FC236}">
                  <a16:creationId xmlns:a16="http://schemas.microsoft.com/office/drawing/2014/main" id="{5F3C91CB-65FA-4CDB-8765-78FFE5FC2739}"/>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28" name="Picture 3">
                <a:extLst>
                  <a:ext uri="{FF2B5EF4-FFF2-40B4-BE49-F238E27FC236}">
                    <a16:creationId xmlns:a16="http://schemas.microsoft.com/office/drawing/2014/main" id="{5C5CF7EE-ECFD-4A37-B9C3-BD2D0C0176E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4A33F702-07EE-4E88-900B-16CB8EA2DA6B}"/>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156675511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431800" y="1416667"/>
            <a:ext cx="7391400" cy="4605251"/>
          </a:xfrm>
          <a:prstGeom prst="rect">
            <a:avLst/>
          </a:prstGeom>
        </p:spPr>
        <p:txBody>
          <a:bodyPr>
            <a:noAutofit/>
          </a:bodyPr>
          <a:lstStyle>
            <a:lvl1pPr>
              <a:defRPr>
                <a:solidFill>
                  <a:schemeClr val="accent1"/>
                </a:solidFill>
              </a:defRPr>
            </a:lvl1pPr>
          </a:lstStyle>
          <a:p>
            <a:r>
              <a:rPr lang="en-GB" dirty="0"/>
              <a:t> </a:t>
            </a:r>
          </a:p>
        </p:txBody>
      </p:sp>
      <p:sp>
        <p:nvSpPr>
          <p:cNvPr id="2" name="Title 1">
            <a:extLst>
              <a:ext uri="{FF2B5EF4-FFF2-40B4-BE49-F238E27FC236}">
                <a16:creationId xmlns:a16="http://schemas.microsoft.com/office/drawing/2014/main" id="{0642CC84-39CD-4CBB-B3E7-E705009B80B3}"/>
              </a:ext>
            </a:extLst>
          </p:cNvPr>
          <p:cNvSpPr>
            <a:spLocks noGrp="1"/>
          </p:cNvSpPr>
          <p:nvPr>
            <p:ph type="title"/>
          </p:nvPr>
        </p:nvSpPr>
        <p:spPr/>
        <p:txBody>
          <a:bodyPr/>
          <a:lstStyle/>
          <a:p>
            <a:r>
              <a:rPr lang="en-US"/>
              <a:t>Click to edit Master title style</a:t>
            </a:r>
            <a:endParaRPr lang="en-GB"/>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8304000" y="1416667"/>
            <a:ext cx="3456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22" name="Guidance note">
            <a:extLst>
              <a:ext uri="{FF2B5EF4-FFF2-40B4-BE49-F238E27FC236}">
                <a16:creationId xmlns:a16="http://schemas.microsoft.com/office/drawing/2014/main" id="{F6BD485F-7180-4CEC-839E-F9483AEAF584}"/>
              </a:ext>
            </a:extLst>
          </p:cNvPr>
          <p:cNvGrpSpPr/>
          <p:nvPr userDrawn="1"/>
        </p:nvGrpSpPr>
        <p:grpSpPr>
          <a:xfrm>
            <a:off x="12514259" y="-2970"/>
            <a:ext cx="2576459" cy="3511851"/>
            <a:chOff x="10925224" y="286"/>
            <a:chExt cx="2952328" cy="4024464"/>
          </a:xfrm>
        </p:grpSpPr>
        <p:sp>
          <p:nvSpPr>
            <p:cNvPr id="23" name="Guidance note">
              <a:extLst>
                <a:ext uri="{FF2B5EF4-FFF2-40B4-BE49-F238E27FC236}">
                  <a16:creationId xmlns:a16="http://schemas.microsoft.com/office/drawing/2014/main" id="{F86419A7-5EC4-4AC8-BB23-375E60D2C6B7}"/>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24" name="Group 23">
              <a:extLst>
                <a:ext uri="{FF2B5EF4-FFF2-40B4-BE49-F238E27FC236}">
                  <a16:creationId xmlns:a16="http://schemas.microsoft.com/office/drawing/2014/main" id="{A4B3781D-97B0-49DA-A922-2F4A49B5EEE0}"/>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25" name="Picture 3">
                <a:extLst>
                  <a:ext uri="{FF2B5EF4-FFF2-40B4-BE49-F238E27FC236}">
                    <a16:creationId xmlns:a16="http://schemas.microsoft.com/office/drawing/2014/main" id="{D16DEB41-48C9-4F3C-BCFC-0DDD665BFB5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5625153F-0A02-4860-9759-AE6F2DB1F863}"/>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350434587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3878C4F-BC10-44FA-BC77-6768BE68A2F6}"/>
              </a:ext>
            </a:extLst>
          </p:cNvPr>
          <p:cNvSpPr>
            <a:spLocks noGrp="1"/>
          </p:cNvSpPr>
          <p:nvPr>
            <p:ph type="title"/>
          </p:nvPr>
        </p:nvSpPr>
        <p:spPr/>
        <p:txBody>
          <a:bodyPr/>
          <a:lstStyle/>
          <a:p>
            <a:r>
              <a:rPr lang="en-US"/>
              <a:t>Click to edit Master title style</a:t>
            </a:r>
            <a:endParaRPr lang="en-GB"/>
          </a:p>
        </p:txBody>
      </p:sp>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8304000" y="1416667"/>
            <a:ext cx="3456000" cy="4605251"/>
          </a:xfrm>
          <a:prstGeom prst="rect">
            <a:avLst/>
          </a:prstGeom>
        </p:spPr>
        <p:txBody>
          <a:bodyPr>
            <a:noAutofit/>
          </a:bodyPr>
          <a:lstStyle>
            <a:lvl1pPr>
              <a:defRPr/>
            </a:lvl1pPr>
          </a:lstStyle>
          <a:p>
            <a:r>
              <a:rPr lang="en-GB" dirty="0"/>
              <a:t> </a:t>
            </a: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431999" y="1416667"/>
            <a:ext cx="7392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23" name="Guidance note">
            <a:extLst>
              <a:ext uri="{FF2B5EF4-FFF2-40B4-BE49-F238E27FC236}">
                <a16:creationId xmlns:a16="http://schemas.microsoft.com/office/drawing/2014/main" id="{C6220EA2-47DD-43D0-9331-5CA1710205F1}"/>
              </a:ext>
            </a:extLst>
          </p:cNvPr>
          <p:cNvGrpSpPr/>
          <p:nvPr userDrawn="1"/>
        </p:nvGrpSpPr>
        <p:grpSpPr>
          <a:xfrm>
            <a:off x="12514259" y="-2970"/>
            <a:ext cx="2576459" cy="3511851"/>
            <a:chOff x="10925224" y="286"/>
            <a:chExt cx="2952328" cy="4024464"/>
          </a:xfrm>
        </p:grpSpPr>
        <p:sp>
          <p:nvSpPr>
            <p:cNvPr id="24" name="Guidance note">
              <a:extLst>
                <a:ext uri="{FF2B5EF4-FFF2-40B4-BE49-F238E27FC236}">
                  <a16:creationId xmlns:a16="http://schemas.microsoft.com/office/drawing/2014/main" id="{2CF5DA98-8560-415B-8960-59469744CC96}"/>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25" name="Group 24">
              <a:extLst>
                <a:ext uri="{FF2B5EF4-FFF2-40B4-BE49-F238E27FC236}">
                  <a16:creationId xmlns:a16="http://schemas.microsoft.com/office/drawing/2014/main" id="{78E71987-5BD9-4DE7-9F3A-329F8F826E80}"/>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26" name="Picture 3">
                <a:extLst>
                  <a:ext uri="{FF2B5EF4-FFF2-40B4-BE49-F238E27FC236}">
                    <a16:creationId xmlns:a16="http://schemas.microsoft.com/office/drawing/2014/main" id="{FC9137C3-4121-48D7-AB68-03D7AA90552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7" name="Rounded Rectangle 20">
                <a:extLst>
                  <a:ext uri="{FF2B5EF4-FFF2-40B4-BE49-F238E27FC236}">
                    <a16:creationId xmlns:a16="http://schemas.microsoft.com/office/drawing/2014/main" id="{CD8F4824-0475-4119-BF77-90AE7EEC80E7}"/>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1404838681"/>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Title_Intro_Copy">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id="{9CE9245F-A54E-6D46-803F-FE1389E58235}"/>
              </a:ext>
            </a:extLst>
          </p:cNvPr>
          <p:cNvSpPr>
            <a:spLocks noGrp="1"/>
          </p:cNvSpPr>
          <p:nvPr>
            <p:ph type="body" sz="quarter" idx="11"/>
          </p:nvPr>
        </p:nvSpPr>
        <p:spPr>
          <a:xfrm>
            <a:off x="497523" y="2298492"/>
            <a:ext cx="4754880" cy="637747"/>
          </a:xfrm>
          <a:prstGeom prst="rect">
            <a:avLst/>
          </a:prstGeom>
          <a:ln>
            <a:noFill/>
          </a:ln>
        </p:spPr>
        <p:txBody>
          <a:bodyPr/>
          <a:lstStyle>
            <a:lvl1pPr marL="0" indent="0">
              <a:buNone/>
              <a:defRPr sz="1400" b="0" i="0">
                <a:solidFill>
                  <a:srgbClr val="FFBF22"/>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sp>
        <p:nvSpPr>
          <p:cNvPr id="8" name="Title 1">
            <a:extLst>
              <a:ext uri="{FF2B5EF4-FFF2-40B4-BE49-F238E27FC236}">
                <a16:creationId xmlns:a16="http://schemas.microsoft.com/office/drawing/2014/main" id="{929765F6-EDB2-2A42-BBCA-10A614DAE0FA}"/>
              </a:ext>
            </a:extLst>
          </p:cNvPr>
          <p:cNvSpPr>
            <a:spLocks noGrp="1"/>
          </p:cNvSpPr>
          <p:nvPr>
            <p:ph type="title"/>
          </p:nvPr>
        </p:nvSpPr>
        <p:spPr>
          <a:xfrm>
            <a:off x="497523" y="780175"/>
            <a:ext cx="5043199" cy="637747"/>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dirty="0"/>
              <a:t>Click to edit Master title style</a:t>
            </a:r>
            <a:endParaRPr lang="en-US" dirty="0"/>
          </a:p>
        </p:txBody>
      </p:sp>
      <p:sp>
        <p:nvSpPr>
          <p:cNvPr id="10" name="Text Placeholder 11">
            <a:extLst>
              <a:ext uri="{FF2B5EF4-FFF2-40B4-BE49-F238E27FC236}">
                <a16:creationId xmlns:a16="http://schemas.microsoft.com/office/drawing/2014/main" id="{A677CB7A-1D72-1E45-BBB9-C15092A5C372}"/>
              </a:ext>
            </a:extLst>
          </p:cNvPr>
          <p:cNvSpPr>
            <a:spLocks noGrp="1"/>
          </p:cNvSpPr>
          <p:nvPr>
            <p:ph type="body" sz="quarter" idx="12"/>
          </p:nvPr>
        </p:nvSpPr>
        <p:spPr>
          <a:xfrm>
            <a:off x="497523" y="3291081"/>
            <a:ext cx="8371840" cy="2050789"/>
          </a:xfrm>
          <a:prstGeom prst="rect">
            <a:avLst/>
          </a:prstGeom>
          <a:ln>
            <a:noFill/>
          </a:ln>
        </p:spPr>
        <p:txBody>
          <a:bodyPr numCol="2"/>
          <a:lstStyle>
            <a:lvl1pPr marL="0" indent="0">
              <a:buNone/>
              <a:defRPr sz="12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pic>
        <p:nvPicPr>
          <p:cNvPr id="5" name="Picture 4">
            <a:extLst>
              <a:ext uri="{FF2B5EF4-FFF2-40B4-BE49-F238E27FC236}">
                <a16:creationId xmlns:a16="http://schemas.microsoft.com/office/drawing/2014/main" id="{D3E91914-15F0-C444-9769-0EC96228BFAC}"/>
              </a:ext>
            </a:extLst>
          </p:cNvPr>
          <p:cNvPicPr>
            <a:picLocks noChangeAspect="1"/>
          </p:cNvPicPr>
          <p:nvPr/>
        </p:nvPicPr>
        <p:blipFill>
          <a:blip r:embed="rId2"/>
          <a:stretch>
            <a:fillRect/>
          </a:stretch>
        </p:blipFill>
        <p:spPr>
          <a:xfrm>
            <a:off x="0" y="5816600"/>
            <a:ext cx="12192000" cy="1041400"/>
          </a:xfrm>
          <a:prstGeom prst="rect">
            <a:avLst/>
          </a:prstGeom>
        </p:spPr>
      </p:pic>
    </p:spTree>
    <p:extLst>
      <p:ext uri="{BB962C8B-B14F-4D97-AF65-F5344CB8AC3E}">
        <p14:creationId xmlns:p14="http://schemas.microsoft.com/office/powerpoint/2010/main" val="270677939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762524-0972-45E6-8233-6ABAD7F79AAC}"/>
              </a:ext>
            </a:extLst>
          </p:cNvPr>
          <p:cNvSpPr>
            <a:spLocks noGrp="1"/>
          </p:cNvSpPr>
          <p:nvPr>
            <p:ph type="title"/>
          </p:nvPr>
        </p:nvSpPr>
        <p:spPr/>
        <p:txBody>
          <a:bodyPr/>
          <a:lstStyle/>
          <a:p>
            <a:r>
              <a:rPr lang="en-US"/>
              <a:t>Click to edit Master title style</a:t>
            </a:r>
            <a:endParaRPr lang="en-GB"/>
          </a:p>
        </p:txBody>
      </p:sp>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431999" y="1416667"/>
            <a:ext cx="3456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4368000" y="1416667"/>
            <a:ext cx="3456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8304000" y="1416667"/>
            <a:ext cx="3456000" cy="4605251"/>
          </a:xfrm>
          <a:prstGeom prst="rect">
            <a:avLst/>
          </a:prstGeom>
        </p:spPr>
        <p:txBody>
          <a:bodyPr>
            <a:noAutofit/>
          </a:bodyPr>
          <a:lstStyle>
            <a:lvl1pPr>
              <a:defRPr/>
            </a:lvl1pPr>
          </a:lstStyle>
          <a:p>
            <a:r>
              <a:rPr lang="en-GB" dirty="0"/>
              <a:t> </a:t>
            </a:r>
          </a:p>
        </p:txBody>
      </p:sp>
      <p:grpSp>
        <p:nvGrpSpPr>
          <p:cNvPr id="25" name="Guidance note">
            <a:extLst>
              <a:ext uri="{FF2B5EF4-FFF2-40B4-BE49-F238E27FC236}">
                <a16:creationId xmlns:a16="http://schemas.microsoft.com/office/drawing/2014/main" id="{2B9602E7-D537-490B-9711-4C94A1263400}"/>
              </a:ext>
            </a:extLst>
          </p:cNvPr>
          <p:cNvGrpSpPr/>
          <p:nvPr userDrawn="1"/>
        </p:nvGrpSpPr>
        <p:grpSpPr>
          <a:xfrm>
            <a:off x="12514259" y="-2970"/>
            <a:ext cx="2576459" cy="3511851"/>
            <a:chOff x="10925224" y="286"/>
            <a:chExt cx="2952328" cy="4024464"/>
          </a:xfrm>
        </p:grpSpPr>
        <p:sp>
          <p:nvSpPr>
            <p:cNvPr id="26" name="Guidance note">
              <a:extLst>
                <a:ext uri="{FF2B5EF4-FFF2-40B4-BE49-F238E27FC236}">
                  <a16:creationId xmlns:a16="http://schemas.microsoft.com/office/drawing/2014/main" id="{A260A4C8-FE16-4419-895F-1BDE2239A65A}"/>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27" name="Group 26">
              <a:extLst>
                <a:ext uri="{FF2B5EF4-FFF2-40B4-BE49-F238E27FC236}">
                  <a16:creationId xmlns:a16="http://schemas.microsoft.com/office/drawing/2014/main" id="{2F154759-8702-4699-8D62-C0E5762F4453}"/>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28" name="Picture 3">
                <a:extLst>
                  <a:ext uri="{FF2B5EF4-FFF2-40B4-BE49-F238E27FC236}">
                    <a16:creationId xmlns:a16="http://schemas.microsoft.com/office/drawing/2014/main" id="{1E7040CA-37E8-4B53-84A1-45C657E7F6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CAF4B175-7E0B-4F34-B662-4F63EA174C7D}"/>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1405311429"/>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14" name="Picture Placeholder 2">
            <a:extLst>
              <a:ext uri="{FF2B5EF4-FFF2-40B4-BE49-F238E27FC236}">
                <a16:creationId xmlns:a16="http://schemas.microsoft.com/office/drawing/2014/main" id="{C3F9F85F-25C9-4329-94BD-2B24DD70B7D8}"/>
              </a:ext>
            </a:extLst>
          </p:cNvPr>
          <p:cNvSpPr>
            <a:spLocks noGrp="1"/>
          </p:cNvSpPr>
          <p:nvPr>
            <p:ph type="pic" sz="quarter" idx="22" hasCustomPrompt="1"/>
          </p:nvPr>
        </p:nvSpPr>
        <p:spPr>
          <a:xfrm>
            <a:off x="431800" y="3794592"/>
            <a:ext cx="5664200" cy="2227411"/>
          </a:xfrm>
          <a:solidFill>
            <a:schemeClr val="bg1">
              <a:lumMod val="95000"/>
            </a:schemeClr>
          </a:solidFill>
        </p:spPr>
        <p:txBody>
          <a:bodyPr anchor="ctr">
            <a:noAutofit/>
          </a:bodyPr>
          <a:lstStyle>
            <a:lvl1pPr algn="ctr">
              <a:defRPr/>
            </a:lvl1pPr>
          </a:lstStyle>
          <a:p>
            <a:r>
              <a:rPr lang="en-GB" dirty="0"/>
              <a:t>INSERT PICTURE</a:t>
            </a:r>
          </a:p>
        </p:txBody>
      </p:sp>
      <p:sp>
        <p:nvSpPr>
          <p:cNvPr id="15" name="Picture Placeholder 2">
            <a:extLst>
              <a:ext uri="{FF2B5EF4-FFF2-40B4-BE49-F238E27FC236}">
                <a16:creationId xmlns:a16="http://schemas.microsoft.com/office/drawing/2014/main" id="{3D75CC03-96EB-4F3B-B0BB-D44347AA9A96}"/>
              </a:ext>
            </a:extLst>
          </p:cNvPr>
          <p:cNvSpPr>
            <a:spLocks noGrp="1"/>
          </p:cNvSpPr>
          <p:nvPr>
            <p:ph type="pic" sz="quarter" idx="23" hasCustomPrompt="1"/>
          </p:nvPr>
        </p:nvSpPr>
        <p:spPr>
          <a:xfrm>
            <a:off x="6096000" y="3794592"/>
            <a:ext cx="5664200" cy="2227411"/>
          </a:xfrm>
          <a:solidFill>
            <a:schemeClr val="bg1">
              <a:lumMod val="95000"/>
            </a:schemeClr>
          </a:solidFill>
        </p:spPr>
        <p:txBody>
          <a:bodyPr anchor="ctr">
            <a:noAutofit/>
          </a:bodyPr>
          <a:lstStyle>
            <a:lvl1pPr algn="ctr">
              <a:defRPr/>
            </a:lvl1pPr>
          </a:lstStyle>
          <a:p>
            <a:r>
              <a:rPr lang="en-GB" dirty="0"/>
              <a:t>INSERT PICTURE</a:t>
            </a:r>
          </a:p>
        </p:txBody>
      </p:sp>
      <p:sp>
        <p:nvSpPr>
          <p:cNvPr id="2" name="Title 1">
            <a:extLst>
              <a:ext uri="{FF2B5EF4-FFF2-40B4-BE49-F238E27FC236}">
                <a16:creationId xmlns:a16="http://schemas.microsoft.com/office/drawing/2014/main" id="{5CA6738F-1383-4C63-86BC-6C31BCD1E25B}"/>
              </a:ext>
            </a:extLst>
          </p:cNvPr>
          <p:cNvSpPr>
            <a:spLocks noGrp="1"/>
          </p:cNvSpPr>
          <p:nvPr>
            <p:ph type="title"/>
          </p:nvPr>
        </p:nvSpPr>
        <p:spPr/>
        <p:txBody>
          <a:bodyPr/>
          <a:lstStyle/>
          <a:p>
            <a:r>
              <a:rPr lang="en-US"/>
              <a:t>Click to edit Master title style</a:t>
            </a:r>
            <a:endParaRPr lang="en-GB"/>
          </a:p>
        </p:txBody>
      </p:sp>
      <p:sp>
        <p:nvSpPr>
          <p:cNvPr id="16" name="Text Placeholder 3">
            <a:extLst>
              <a:ext uri="{FF2B5EF4-FFF2-40B4-BE49-F238E27FC236}">
                <a16:creationId xmlns:a16="http://schemas.microsoft.com/office/drawing/2014/main" id="{43E568BE-ED6A-426F-B0BF-A1453B694ED5}"/>
              </a:ext>
            </a:extLst>
          </p:cNvPr>
          <p:cNvSpPr>
            <a:spLocks noGrp="1"/>
          </p:cNvSpPr>
          <p:nvPr>
            <p:ph type="body" sz="quarter" idx="16"/>
          </p:nvPr>
        </p:nvSpPr>
        <p:spPr>
          <a:xfrm>
            <a:off x="432000" y="1416667"/>
            <a:ext cx="5424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3">
            <a:extLst>
              <a:ext uri="{FF2B5EF4-FFF2-40B4-BE49-F238E27FC236}">
                <a16:creationId xmlns:a16="http://schemas.microsoft.com/office/drawing/2014/main" id="{5DFB1F70-48E1-4D12-8CA0-02A9C5416B1F}"/>
              </a:ext>
            </a:extLst>
          </p:cNvPr>
          <p:cNvSpPr>
            <a:spLocks noGrp="1"/>
          </p:cNvSpPr>
          <p:nvPr>
            <p:ph type="body" sz="quarter" idx="17"/>
          </p:nvPr>
        </p:nvSpPr>
        <p:spPr>
          <a:xfrm>
            <a:off x="6337516" y="1416667"/>
            <a:ext cx="5424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28" name="Guidance note">
            <a:extLst>
              <a:ext uri="{FF2B5EF4-FFF2-40B4-BE49-F238E27FC236}">
                <a16:creationId xmlns:a16="http://schemas.microsoft.com/office/drawing/2014/main" id="{053114DC-01DB-4172-B8B9-F6B6A6FCE692}"/>
              </a:ext>
            </a:extLst>
          </p:cNvPr>
          <p:cNvGrpSpPr/>
          <p:nvPr userDrawn="1"/>
        </p:nvGrpSpPr>
        <p:grpSpPr>
          <a:xfrm>
            <a:off x="12514259" y="-2970"/>
            <a:ext cx="2576459" cy="3511851"/>
            <a:chOff x="10925224" y="286"/>
            <a:chExt cx="2952328" cy="4024464"/>
          </a:xfrm>
        </p:grpSpPr>
        <p:sp>
          <p:nvSpPr>
            <p:cNvPr id="29" name="Guidance note">
              <a:extLst>
                <a:ext uri="{FF2B5EF4-FFF2-40B4-BE49-F238E27FC236}">
                  <a16:creationId xmlns:a16="http://schemas.microsoft.com/office/drawing/2014/main" id="{8DE85B72-FB6B-447A-858A-8B2561669D13}"/>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30" name="Group 29">
              <a:extLst>
                <a:ext uri="{FF2B5EF4-FFF2-40B4-BE49-F238E27FC236}">
                  <a16:creationId xmlns:a16="http://schemas.microsoft.com/office/drawing/2014/main" id="{D8EC3649-E284-438D-8DCD-251552F54088}"/>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31" name="Picture 3">
                <a:extLst>
                  <a:ext uri="{FF2B5EF4-FFF2-40B4-BE49-F238E27FC236}">
                    <a16:creationId xmlns:a16="http://schemas.microsoft.com/office/drawing/2014/main" id="{C3022D24-E487-419A-9A91-5B6F67F14A7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FD7CCEB6-B56D-45AB-9808-6E4B26A114FB}"/>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3745613979"/>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ree column + image">
    <p:spTree>
      <p:nvGrpSpPr>
        <p:cNvPr id="1" name=""/>
        <p:cNvGrpSpPr/>
        <p:nvPr/>
      </p:nvGrpSpPr>
      <p:grpSpPr>
        <a:xfrm>
          <a:off x="0" y="0"/>
          <a:ext cx="0" cy="0"/>
          <a:chOff x="0" y="0"/>
          <a:chExt cx="0" cy="0"/>
        </a:xfrm>
      </p:grpSpPr>
      <p:sp>
        <p:nvSpPr>
          <p:cNvPr id="14" name="Picture Placeholder 2">
            <a:extLst>
              <a:ext uri="{FF2B5EF4-FFF2-40B4-BE49-F238E27FC236}">
                <a16:creationId xmlns:a16="http://schemas.microsoft.com/office/drawing/2014/main" id="{C3F9F85F-25C9-4329-94BD-2B24DD70B7D8}"/>
              </a:ext>
            </a:extLst>
          </p:cNvPr>
          <p:cNvSpPr>
            <a:spLocks noGrp="1"/>
          </p:cNvSpPr>
          <p:nvPr>
            <p:ph type="pic" sz="quarter" idx="22" hasCustomPrompt="1"/>
          </p:nvPr>
        </p:nvSpPr>
        <p:spPr>
          <a:xfrm>
            <a:off x="432000" y="3794592"/>
            <a:ext cx="3777600" cy="2227411"/>
          </a:xfrm>
          <a:solidFill>
            <a:schemeClr val="bg1">
              <a:lumMod val="95000"/>
            </a:schemeClr>
          </a:solidFill>
        </p:spPr>
        <p:txBody>
          <a:bodyPr anchor="ctr">
            <a:noAutofit/>
          </a:bodyPr>
          <a:lstStyle>
            <a:lvl1pPr algn="ctr">
              <a:defRPr/>
            </a:lvl1pPr>
          </a:lstStyle>
          <a:p>
            <a:r>
              <a:rPr lang="en-GB" dirty="0"/>
              <a:t>INSERT PICTURE</a:t>
            </a:r>
          </a:p>
        </p:txBody>
      </p:sp>
      <p:sp>
        <p:nvSpPr>
          <p:cNvPr id="15" name="Picture Placeholder 2">
            <a:extLst>
              <a:ext uri="{FF2B5EF4-FFF2-40B4-BE49-F238E27FC236}">
                <a16:creationId xmlns:a16="http://schemas.microsoft.com/office/drawing/2014/main" id="{3D75CC03-96EB-4F3B-B0BB-D44347AA9A96}"/>
              </a:ext>
            </a:extLst>
          </p:cNvPr>
          <p:cNvSpPr>
            <a:spLocks noGrp="1"/>
          </p:cNvSpPr>
          <p:nvPr>
            <p:ph type="pic" sz="quarter" idx="23" hasCustomPrompt="1"/>
          </p:nvPr>
        </p:nvSpPr>
        <p:spPr>
          <a:xfrm>
            <a:off x="4206899" y="3794592"/>
            <a:ext cx="3777600" cy="2227411"/>
          </a:xfrm>
          <a:solidFill>
            <a:schemeClr val="bg1">
              <a:lumMod val="95000"/>
            </a:schemeClr>
          </a:solidFill>
        </p:spPr>
        <p:txBody>
          <a:bodyPr anchor="ctr">
            <a:noAutofit/>
          </a:bodyPr>
          <a:lstStyle>
            <a:lvl1pPr algn="ctr">
              <a:defRPr/>
            </a:lvl1pPr>
          </a:lstStyle>
          <a:p>
            <a:r>
              <a:rPr lang="en-GB" dirty="0"/>
              <a:t>INSERT PICTURE</a:t>
            </a:r>
          </a:p>
        </p:txBody>
      </p:sp>
      <p:sp>
        <p:nvSpPr>
          <p:cNvPr id="16" name="Picture Placeholder 2">
            <a:extLst>
              <a:ext uri="{FF2B5EF4-FFF2-40B4-BE49-F238E27FC236}">
                <a16:creationId xmlns:a16="http://schemas.microsoft.com/office/drawing/2014/main" id="{D515E9C8-29C7-4E99-B52B-311CBD5099A9}"/>
              </a:ext>
            </a:extLst>
          </p:cNvPr>
          <p:cNvSpPr>
            <a:spLocks noGrp="1"/>
          </p:cNvSpPr>
          <p:nvPr>
            <p:ph type="pic" sz="quarter" idx="24" hasCustomPrompt="1"/>
          </p:nvPr>
        </p:nvSpPr>
        <p:spPr>
          <a:xfrm>
            <a:off x="7981799" y="3794592"/>
            <a:ext cx="3777600" cy="2227411"/>
          </a:xfrm>
          <a:solidFill>
            <a:schemeClr val="bg1">
              <a:lumMod val="95000"/>
            </a:schemeClr>
          </a:solidFill>
        </p:spPr>
        <p:txBody>
          <a:bodyPr anchor="ctr">
            <a:noAutofit/>
          </a:bodyPr>
          <a:lstStyle>
            <a:lvl1pPr algn="ctr">
              <a:defRPr/>
            </a:lvl1pPr>
          </a:lstStyle>
          <a:p>
            <a:r>
              <a:rPr lang="en-GB" dirty="0"/>
              <a:t>INSERT PICTURE</a:t>
            </a:r>
          </a:p>
        </p:txBody>
      </p:sp>
      <p:sp>
        <p:nvSpPr>
          <p:cNvPr id="20" name="Text Placeholder 3">
            <a:extLst>
              <a:ext uri="{FF2B5EF4-FFF2-40B4-BE49-F238E27FC236}">
                <a16:creationId xmlns:a16="http://schemas.microsoft.com/office/drawing/2014/main" id="{4656B92A-8C51-4E0D-9A97-008FAAAA53E0}"/>
              </a:ext>
            </a:extLst>
          </p:cNvPr>
          <p:cNvSpPr>
            <a:spLocks noGrp="1"/>
          </p:cNvSpPr>
          <p:nvPr>
            <p:ph type="body" sz="quarter" idx="16"/>
          </p:nvPr>
        </p:nvSpPr>
        <p:spPr>
          <a:xfrm>
            <a:off x="432000" y="1416667"/>
            <a:ext cx="3456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3">
            <a:extLst>
              <a:ext uri="{FF2B5EF4-FFF2-40B4-BE49-F238E27FC236}">
                <a16:creationId xmlns:a16="http://schemas.microsoft.com/office/drawing/2014/main" id="{EA95D6EE-CA00-40A4-BFBB-A0BB7573F2B3}"/>
              </a:ext>
            </a:extLst>
          </p:cNvPr>
          <p:cNvSpPr>
            <a:spLocks noGrp="1"/>
          </p:cNvSpPr>
          <p:nvPr>
            <p:ph type="body" sz="quarter" idx="18"/>
          </p:nvPr>
        </p:nvSpPr>
        <p:spPr>
          <a:xfrm>
            <a:off x="4368000" y="1416667"/>
            <a:ext cx="3456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F93AEB12-C997-4994-99B9-11940CF7DB83}"/>
              </a:ext>
            </a:extLst>
          </p:cNvPr>
          <p:cNvSpPr>
            <a:spLocks noGrp="1"/>
          </p:cNvSpPr>
          <p:nvPr>
            <p:ph type="body" sz="quarter" idx="17"/>
          </p:nvPr>
        </p:nvSpPr>
        <p:spPr>
          <a:xfrm>
            <a:off x="8304000" y="1416667"/>
            <a:ext cx="3456000" cy="2092880"/>
          </a:xfr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28" name="Guidance note">
            <a:extLst>
              <a:ext uri="{FF2B5EF4-FFF2-40B4-BE49-F238E27FC236}">
                <a16:creationId xmlns:a16="http://schemas.microsoft.com/office/drawing/2014/main" id="{8F8469DA-FA58-409C-8234-09A9506501FE}"/>
              </a:ext>
            </a:extLst>
          </p:cNvPr>
          <p:cNvGrpSpPr/>
          <p:nvPr userDrawn="1"/>
        </p:nvGrpSpPr>
        <p:grpSpPr>
          <a:xfrm>
            <a:off x="12514259" y="-2970"/>
            <a:ext cx="2576459" cy="3511851"/>
            <a:chOff x="10925224" y="286"/>
            <a:chExt cx="2952328" cy="4024464"/>
          </a:xfrm>
        </p:grpSpPr>
        <p:sp>
          <p:nvSpPr>
            <p:cNvPr id="29" name="Guidance note">
              <a:extLst>
                <a:ext uri="{FF2B5EF4-FFF2-40B4-BE49-F238E27FC236}">
                  <a16:creationId xmlns:a16="http://schemas.microsoft.com/office/drawing/2014/main" id="{6E771D66-7805-4DEB-BB9F-EF1E415C56EB}"/>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30" name="Group 29">
              <a:extLst>
                <a:ext uri="{FF2B5EF4-FFF2-40B4-BE49-F238E27FC236}">
                  <a16:creationId xmlns:a16="http://schemas.microsoft.com/office/drawing/2014/main" id="{7B72BB3D-7A3C-4684-BA16-7BC42D52C71E}"/>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31" name="Picture 3">
                <a:extLst>
                  <a:ext uri="{FF2B5EF4-FFF2-40B4-BE49-F238E27FC236}">
                    <a16:creationId xmlns:a16="http://schemas.microsoft.com/office/drawing/2014/main" id="{54391195-43CF-4392-A400-03DECFD1295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36A616C4-BC31-4393-8C8F-08A21867FCEE}"/>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
        <p:nvSpPr>
          <p:cNvPr id="3" name="Title 2">
            <a:extLst>
              <a:ext uri="{FF2B5EF4-FFF2-40B4-BE49-F238E27FC236}">
                <a16:creationId xmlns:a16="http://schemas.microsoft.com/office/drawing/2014/main" id="{1EED9939-C8C6-4136-91EB-74F055235F91}"/>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47099122"/>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462847" y="1414222"/>
            <a:ext cx="11266309" cy="20926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fld id="{6E983326-A70F-4957-A3ED-4F2F5C0FDFC2}" type="datetime1">
              <a:rPr lang="en-US"/>
              <a:pPr>
                <a:defRPr/>
              </a:pPr>
              <a:t>12/20/2021</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15D2633F-9E37-4580-B197-799DECA1053C}" type="slidenum">
              <a:rPr lang="en-US" altLang="en-US"/>
              <a:pPr>
                <a:defRPr/>
              </a:pPr>
              <a:t>‹#›</a:t>
            </a:fld>
            <a:endParaRPr lang="en-US" altLang="en-US" dirty="0"/>
          </a:p>
        </p:txBody>
      </p:sp>
    </p:spTree>
    <p:extLst>
      <p:ext uri="{BB962C8B-B14F-4D97-AF65-F5344CB8AC3E}">
        <p14:creationId xmlns:p14="http://schemas.microsoft.com/office/powerpoint/2010/main" val="3412456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_Intro_Copyx3">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id="{9CE9245F-A54E-6D46-803F-FE1389E58235}"/>
              </a:ext>
            </a:extLst>
          </p:cNvPr>
          <p:cNvSpPr>
            <a:spLocks noGrp="1"/>
          </p:cNvSpPr>
          <p:nvPr>
            <p:ph type="body" sz="quarter" idx="11"/>
          </p:nvPr>
        </p:nvSpPr>
        <p:spPr>
          <a:xfrm>
            <a:off x="592143" y="2496094"/>
            <a:ext cx="3298973" cy="506555"/>
          </a:xfrm>
          <a:prstGeom prst="rect">
            <a:avLst/>
          </a:prstGeom>
          <a:ln>
            <a:noFill/>
          </a:ln>
        </p:spPr>
        <p:txBody>
          <a:bodyPr lIns="0" anchor="b"/>
          <a:lstStyle>
            <a:lvl1pPr marL="0" indent="0">
              <a:buNone/>
              <a:defRPr sz="1400" b="1" i="1">
                <a:solidFill>
                  <a:srgbClr val="E75400"/>
                </a:solidFill>
                <a:latin typeface="Helvetica Neue LT Std 87 Heavy " panose="020B0604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sp>
        <p:nvSpPr>
          <p:cNvPr id="8" name="Title 1">
            <a:extLst>
              <a:ext uri="{FF2B5EF4-FFF2-40B4-BE49-F238E27FC236}">
                <a16:creationId xmlns:a16="http://schemas.microsoft.com/office/drawing/2014/main" id="{929765F6-EDB2-2A42-BBCA-10A614DAE0FA}"/>
              </a:ext>
            </a:extLst>
          </p:cNvPr>
          <p:cNvSpPr>
            <a:spLocks noGrp="1"/>
          </p:cNvSpPr>
          <p:nvPr>
            <p:ph type="title"/>
          </p:nvPr>
        </p:nvSpPr>
        <p:spPr>
          <a:xfrm>
            <a:off x="497523" y="780175"/>
            <a:ext cx="5043199" cy="637747"/>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dirty="0"/>
              <a:t>Click to edit Master title style</a:t>
            </a:r>
            <a:endParaRPr lang="en-US" dirty="0"/>
          </a:p>
        </p:txBody>
      </p:sp>
      <p:sp>
        <p:nvSpPr>
          <p:cNvPr id="10" name="Text Placeholder 11">
            <a:extLst>
              <a:ext uri="{FF2B5EF4-FFF2-40B4-BE49-F238E27FC236}">
                <a16:creationId xmlns:a16="http://schemas.microsoft.com/office/drawing/2014/main" id="{A677CB7A-1D72-1E45-BBB9-C15092A5C372}"/>
              </a:ext>
            </a:extLst>
          </p:cNvPr>
          <p:cNvSpPr>
            <a:spLocks noGrp="1"/>
          </p:cNvSpPr>
          <p:nvPr>
            <p:ph type="body" sz="quarter" idx="12"/>
          </p:nvPr>
        </p:nvSpPr>
        <p:spPr>
          <a:xfrm>
            <a:off x="592143" y="3078866"/>
            <a:ext cx="3298973" cy="2050789"/>
          </a:xfrm>
          <a:prstGeom prst="rect">
            <a:avLst/>
          </a:prstGeom>
          <a:ln>
            <a:noFill/>
          </a:ln>
        </p:spPr>
        <p:txBody>
          <a:bodyPr lIns="0" numCol="1"/>
          <a:lstStyle>
            <a:lvl1pPr marL="171450" indent="-171450">
              <a:buFont typeface="Arial" panose="020B0604020202020204" pitchFamily="34" charset="0"/>
              <a:buChar char="•"/>
              <a:defRPr sz="12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pic>
        <p:nvPicPr>
          <p:cNvPr id="11" name="Picture 10">
            <a:extLst>
              <a:ext uri="{FF2B5EF4-FFF2-40B4-BE49-F238E27FC236}">
                <a16:creationId xmlns:a16="http://schemas.microsoft.com/office/drawing/2014/main" id="{14DB0147-8AA3-3045-A01D-480E4B926D6A}"/>
              </a:ext>
            </a:extLst>
          </p:cNvPr>
          <p:cNvPicPr>
            <a:picLocks noChangeAspect="1"/>
          </p:cNvPicPr>
          <p:nvPr/>
        </p:nvPicPr>
        <p:blipFill>
          <a:blip r:embed="rId2"/>
          <a:stretch>
            <a:fillRect/>
          </a:stretch>
        </p:blipFill>
        <p:spPr>
          <a:xfrm>
            <a:off x="0" y="5816600"/>
            <a:ext cx="12192000" cy="1041400"/>
          </a:xfrm>
          <a:prstGeom prst="rect">
            <a:avLst/>
          </a:prstGeom>
        </p:spPr>
      </p:pic>
      <p:sp>
        <p:nvSpPr>
          <p:cNvPr id="7" name="Text Placeholder 11">
            <a:extLst>
              <a:ext uri="{FF2B5EF4-FFF2-40B4-BE49-F238E27FC236}">
                <a16:creationId xmlns:a16="http://schemas.microsoft.com/office/drawing/2014/main" id="{DEA4372F-A8FE-304D-BEEF-9B1F4366F1F7}"/>
              </a:ext>
            </a:extLst>
          </p:cNvPr>
          <p:cNvSpPr>
            <a:spLocks noGrp="1"/>
          </p:cNvSpPr>
          <p:nvPr>
            <p:ph type="body" sz="quarter" idx="13"/>
          </p:nvPr>
        </p:nvSpPr>
        <p:spPr>
          <a:xfrm>
            <a:off x="4446513" y="3078866"/>
            <a:ext cx="3298973" cy="2050789"/>
          </a:xfrm>
          <a:prstGeom prst="rect">
            <a:avLst/>
          </a:prstGeom>
          <a:ln>
            <a:noFill/>
          </a:ln>
        </p:spPr>
        <p:txBody>
          <a:bodyPr lIns="0" numCol="1"/>
          <a:lstStyle>
            <a:lvl1pPr marL="171450" indent="-171450">
              <a:buFont typeface="Arial" panose="020B0604020202020204" pitchFamily="34" charset="0"/>
              <a:buChar char="•"/>
              <a:defRPr sz="12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sp>
        <p:nvSpPr>
          <p:cNvPr id="9" name="Text Placeholder 11">
            <a:extLst>
              <a:ext uri="{FF2B5EF4-FFF2-40B4-BE49-F238E27FC236}">
                <a16:creationId xmlns:a16="http://schemas.microsoft.com/office/drawing/2014/main" id="{E16F508C-C8C7-E649-9929-A87F4FD3E22F}"/>
              </a:ext>
            </a:extLst>
          </p:cNvPr>
          <p:cNvSpPr>
            <a:spLocks noGrp="1"/>
          </p:cNvSpPr>
          <p:nvPr>
            <p:ph type="body" sz="quarter" idx="14"/>
          </p:nvPr>
        </p:nvSpPr>
        <p:spPr>
          <a:xfrm>
            <a:off x="8300882" y="3078866"/>
            <a:ext cx="3298973" cy="2050789"/>
          </a:xfrm>
          <a:prstGeom prst="rect">
            <a:avLst/>
          </a:prstGeom>
          <a:ln>
            <a:noFill/>
          </a:ln>
        </p:spPr>
        <p:txBody>
          <a:bodyPr lIns="0" numCol="1"/>
          <a:lstStyle>
            <a:lvl1pPr marL="171450" indent="-171450">
              <a:buFont typeface="Arial" panose="020B0604020202020204" pitchFamily="34" charset="0"/>
              <a:buChar char="•"/>
              <a:defRPr sz="12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sp>
        <p:nvSpPr>
          <p:cNvPr id="12" name="Text Placeholder 11">
            <a:extLst>
              <a:ext uri="{FF2B5EF4-FFF2-40B4-BE49-F238E27FC236}">
                <a16:creationId xmlns:a16="http://schemas.microsoft.com/office/drawing/2014/main" id="{B2CF9473-1903-994F-B99C-D29984D129C3}"/>
              </a:ext>
            </a:extLst>
          </p:cNvPr>
          <p:cNvSpPr>
            <a:spLocks noGrp="1"/>
          </p:cNvSpPr>
          <p:nvPr>
            <p:ph type="body" sz="quarter" idx="15"/>
          </p:nvPr>
        </p:nvSpPr>
        <p:spPr>
          <a:xfrm>
            <a:off x="4434938" y="2496094"/>
            <a:ext cx="3298973" cy="506555"/>
          </a:xfrm>
          <a:prstGeom prst="rect">
            <a:avLst/>
          </a:prstGeom>
          <a:ln>
            <a:noFill/>
          </a:ln>
        </p:spPr>
        <p:txBody>
          <a:bodyPr lIns="0" anchor="b"/>
          <a:lstStyle>
            <a:lvl1pPr marL="0" indent="0">
              <a:buNone/>
              <a:defRPr sz="1400" b="1" i="1">
                <a:solidFill>
                  <a:srgbClr val="E75400"/>
                </a:solidFill>
                <a:latin typeface="Helvetica Neue LT Std 87 Heavy " panose="020B0604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sp>
        <p:nvSpPr>
          <p:cNvPr id="13" name="Text Placeholder 11">
            <a:extLst>
              <a:ext uri="{FF2B5EF4-FFF2-40B4-BE49-F238E27FC236}">
                <a16:creationId xmlns:a16="http://schemas.microsoft.com/office/drawing/2014/main" id="{DE8310A5-8F15-B846-BB45-B7B8D709FBE8}"/>
              </a:ext>
            </a:extLst>
          </p:cNvPr>
          <p:cNvSpPr>
            <a:spLocks noGrp="1"/>
          </p:cNvSpPr>
          <p:nvPr>
            <p:ph type="body" sz="quarter" idx="16"/>
          </p:nvPr>
        </p:nvSpPr>
        <p:spPr>
          <a:xfrm>
            <a:off x="8300882" y="2496094"/>
            <a:ext cx="3298973" cy="506555"/>
          </a:xfrm>
          <a:prstGeom prst="rect">
            <a:avLst/>
          </a:prstGeom>
          <a:ln>
            <a:noFill/>
          </a:ln>
        </p:spPr>
        <p:txBody>
          <a:bodyPr lIns="0" anchor="b"/>
          <a:lstStyle>
            <a:lvl1pPr marL="0" indent="0">
              <a:buNone/>
              <a:defRPr sz="1400" b="1" i="1">
                <a:solidFill>
                  <a:srgbClr val="E75400"/>
                </a:solidFill>
                <a:latin typeface="Helvetica Neue LT Std 87 Heavy " panose="020B0604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spTree>
    <p:extLst>
      <p:ext uri="{BB962C8B-B14F-4D97-AF65-F5344CB8AC3E}">
        <p14:creationId xmlns:p14="http://schemas.microsoft.com/office/powerpoint/2010/main" val="39675829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image" Target="../media/image6.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oleObject" Target="../embeddings/oleObject1.bin"/><Relationship Id="rId2" Type="http://schemas.openxmlformats.org/officeDocument/2006/relationships/slideLayout" Target="../slideLayouts/slideLayout18.xml"/><Relationship Id="rId16" Type="http://schemas.openxmlformats.org/officeDocument/2006/relationships/tags" Target="../tags/tag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tags" Target="../tags/tag1.xml"/><Relationship Id="rId10" Type="http://schemas.openxmlformats.org/officeDocument/2006/relationships/slideLayout" Target="../slideLayouts/slideLayout26.xml"/><Relationship Id="rId19" Type="http://schemas.openxmlformats.org/officeDocument/2006/relationships/image" Target="../media/image7.png"/><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theme" Target="../theme/theme3.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image" Target="../media/image19.png"/><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theme" Target="../theme/theme4.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theme" Target="../theme/theme5.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10" Type="http://schemas.openxmlformats.org/officeDocument/2006/relationships/slideLayout" Target="../slideLayouts/slideLayout76.xml"/><Relationship Id="rId19" Type="http://schemas.openxmlformats.org/officeDocument/2006/relationships/image" Target="../media/image24.emf"/><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F6DC8FE-687D-BC40-94EC-0F4CCBFD4EE6}"/>
              </a:ext>
            </a:extLst>
          </p:cNvPr>
          <p:cNvPicPr>
            <a:picLocks noChangeAspect="1"/>
          </p:cNvPicPr>
          <p:nvPr userDrawn="1"/>
        </p:nvPicPr>
        <p:blipFill>
          <a:blip r:embed="rId18"/>
          <a:stretch>
            <a:fillRect/>
          </a:stretch>
        </p:blipFill>
        <p:spPr>
          <a:xfrm>
            <a:off x="0" y="5816600"/>
            <a:ext cx="12192000" cy="1041400"/>
          </a:xfrm>
          <a:prstGeom prst="rect">
            <a:avLst/>
          </a:prstGeom>
        </p:spPr>
      </p:pic>
    </p:spTree>
    <p:extLst>
      <p:ext uri="{BB962C8B-B14F-4D97-AF65-F5344CB8AC3E}">
        <p14:creationId xmlns:p14="http://schemas.microsoft.com/office/powerpoint/2010/main" val="158520421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73" r:id="rId3"/>
    <p:sldLayoutId id="2147483664" r:id="rId4"/>
    <p:sldLayoutId id="2147483665" r:id="rId5"/>
    <p:sldLayoutId id="2147483666" r:id="rId6"/>
    <p:sldLayoutId id="2147483667" r:id="rId7"/>
    <p:sldLayoutId id="2147483687" r:id="rId8"/>
    <p:sldLayoutId id="2147483683" r:id="rId9"/>
    <p:sldLayoutId id="2147483682" r:id="rId10"/>
    <p:sldLayoutId id="2147483680" r:id="rId11"/>
    <p:sldLayoutId id="2147483690" r:id="rId12"/>
    <p:sldLayoutId id="2147483691" r:id="rId13"/>
    <p:sldLayoutId id="2147483688" r:id="rId14"/>
    <p:sldLayoutId id="2147483678" r:id="rId15"/>
    <p:sldLayoutId id="2147483679" r:id="rId16"/>
  </p:sldLayoutIdLst>
  <p:hf sldNum="0"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5"/>
            </p:custDataLst>
          </p:nvPr>
        </p:nvGraphicFramePr>
        <p:xfrm>
          <a:off x="1813" y="1441"/>
          <a:ext cx="1809" cy="1440"/>
        </p:xfrm>
        <a:graphic>
          <a:graphicData uri="http://schemas.openxmlformats.org/presentationml/2006/ole">
            <mc:AlternateContent xmlns:mc="http://schemas.openxmlformats.org/markup-compatibility/2006">
              <mc:Choice xmlns:v="urn:schemas-microsoft-com:vml" Requires="v">
                <p:oleObj name="think-cell Slide" r:id="rId17" imgW="592" imgH="595" progId="TCLayout.ActiveDocument.1">
                  <p:embed/>
                </p:oleObj>
              </mc:Choice>
              <mc:Fallback>
                <p:oleObj name="think-cell Slide" r:id="rId17" imgW="592" imgH="595" progId="TCLayout.ActiveDocument.1">
                  <p:embed/>
                  <p:pic>
                    <p:nvPicPr>
                      <p:cNvPr id="10" name="Object 9" hidden="1"/>
                      <p:cNvPicPr/>
                      <p:nvPr/>
                    </p:nvPicPr>
                    <p:blipFill>
                      <a:blip r:embed="rId18"/>
                      <a:stretch>
                        <a:fillRect/>
                      </a:stretch>
                    </p:blipFill>
                    <p:spPr>
                      <a:xfrm>
                        <a:off x="1813" y="1441"/>
                        <a:ext cx="1809" cy="144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40AFA80-F3F4-45A4-AEE4-1B35CBCA4CF3}"/>
              </a:ext>
            </a:extLst>
          </p:cNvPr>
          <p:cNvSpPr/>
          <p:nvPr userDrawn="1">
            <p:custDataLst>
              <p:tags r:id="rId16"/>
            </p:custDataLst>
          </p:nvPr>
        </p:nvSpPr>
        <p:spPr>
          <a:xfrm>
            <a:off x="0" y="0"/>
            <a:ext cx="211667" cy="21166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5000"/>
              </a:lnSpc>
              <a:spcBef>
                <a:spcPct val="0"/>
              </a:spcBef>
              <a:spcAft>
                <a:spcPct val="0"/>
              </a:spcAft>
            </a:pPr>
            <a:endParaRPr lang="en-GB" sz="1996" b="1" i="0" baseline="0" noProof="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576000" y="336000"/>
            <a:ext cx="11040000" cy="768000"/>
          </a:xfrm>
          <a:prstGeom prst="rect">
            <a:avLst/>
          </a:prstGeom>
        </p:spPr>
        <p:txBody>
          <a:bodyPr vert="horz" lIns="0" tIns="0" rIns="0" bIns="0" rtlCol="0" anchor="t" anchorCtr="0">
            <a:noAutofit/>
          </a:bodyPr>
          <a:lstStyle/>
          <a:p>
            <a:r>
              <a:rPr lang="en-GB"/>
              <a:t>Click to edit Master title style</a:t>
            </a:r>
            <a:endParaRPr lang="en-GB" dirty="0"/>
          </a:p>
        </p:txBody>
      </p:sp>
      <p:sp>
        <p:nvSpPr>
          <p:cNvPr id="3" name="Text Placeholder 2"/>
          <p:cNvSpPr>
            <a:spLocks noGrp="1"/>
          </p:cNvSpPr>
          <p:nvPr>
            <p:ph type="body" idx="1"/>
          </p:nvPr>
        </p:nvSpPr>
        <p:spPr>
          <a:xfrm>
            <a:off x="579965" y="1372799"/>
            <a:ext cx="11038419" cy="4560000"/>
          </a:xfrm>
          <a:prstGeom prst="rect">
            <a:avLst/>
          </a:prstGeom>
        </p:spPr>
        <p:txBody>
          <a:bodyPr vert="horz" lIns="0" tIns="0" rIns="0" bIns="0" rtlCol="0">
            <a:no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noProof="0" dirty="0"/>
          </a:p>
        </p:txBody>
      </p:sp>
      <p:sp>
        <p:nvSpPr>
          <p:cNvPr id="6" name="Slide Number Placeholder 5"/>
          <p:cNvSpPr>
            <a:spLocks noGrp="1"/>
          </p:cNvSpPr>
          <p:nvPr>
            <p:ph type="sldNum" sz="quarter" idx="4"/>
          </p:nvPr>
        </p:nvSpPr>
        <p:spPr>
          <a:xfrm>
            <a:off x="577851" y="6409766"/>
            <a:ext cx="372101" cy="161713"/>
          </a:xfrm>
          <a:prstGeom prst="rect">
            <a:avLst/>
          </a:prstGeom>
        </p:spPr>
        <p:txBody>
          <a:bodyPr vert="horz" lIns="0" tIns="0" rIns="0" bIns="0" rtlCol="0" anchor="b" anchorCtr="0"/>
          <a:lstStyle>
            <a:lvl1pPr algn="l">
              <a:lnSpc>
                <a:spcPct val="95000"/>
              </a:lnSpc>
              <a:defRPr sz="933">
                <a:solidFill>
                  <a:schemeClr val="accent6"/>
                </a:solidFill>
                <a:latin typeface="Arial" panose="020B0604020202020204" pitchFamily="34" charset="0"/>
                <a:cs typeface="Arial" panose="020B0604020202020204" pitchFamily="34" charset="0"/>
                <a:sym typeface="Arial" panose="020B0604020202020204" pitchFamily="34" charset="0"/>
              </a:defRPr>
            </a:lvl1pPr>
          </a:lstStyle>
          <a:p>
            <a:fld id="{24C8C45C-947F-4981-8B3F-4F32E973C901}" type="slidenum">
              <a:rPr lang="en-GB" smtClean="0"/>
              <a:pPr/>
              <a:t>‹#›</a:t>
            </a:fld>
            <a:endParaRPr lang="en-GB" dirty="0"/>
          </a:p>
        </p:txBody>
      </p:sp>
      <p:pic>
        <p:nvPicPr>
          <p:cNvPr id="7" name="Picture 6">
            <a:extLst>
              <a:ext uri="{FF2B5EF4-FFF2-40B4-BE49-F238E27FC236}">
                <a16:creationId xmlns:a16="http://schemas.microsoft.com/office/drawing/2014/main" id="{95299906-9323-46A1-8992-1A6CFEDA2FB3}"/>
              </a:ext>
            </a:extLst>
          </p:cNvPr>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10603200" y="6283440"/>
            <a:ext cx="1008000" cy="275864"/>
          </a:xfrm>
          <a:prstGeom prst="rect">
            <a:avLst/>
          </a:prstGeom>
        </p:spPr>
      </p:pic>
      <p:sp>
        <p:nvSpPr>
          <p:cNvPr id="9" name="Date Placeholder 3">
            <a:extLst>
              <a:ext uri="{FF2B5EF4-FFF2-40B4-BE49-F238E27FC236}">
                <a16:creationId xmlns:a16="http://schemas.microsoft.com/office/drawing/2014/main" id="{AB618018-A126-4E13-B4A2-591A064ED423}"/>
              </a:ext>
            </a:extLst>
          </p:cNvPr>
          <p:cNvSpPr>
            <a:spLocks noGrp="1"/>
          </p:cNvSpPr>
          <p:nvPr>
            <p:ph type="dt" sz="half" idx="2"/>
          </p:nvPr>
        </p:nvSpPr>
        <p:spPr>
          <a:xfrm>
            <a:off x="9023969" y="6408250"/>
            <a:ext cx="816000" cy="163229"/>
          </a:xfrm>
          <a:prstGeom prst="rect">
            <a:avLst/>
          </a:prstGeom>
        </p:spPr>
        <p:txBody>
          <a:bodyPr vert="horz" lIns="0" tIns="0" rIns="0" bIns="0" rtlCol="0" anchor="b" anchorCtr="0"/>
          <a:lstStyle>
            <a:lvl1pPr algn="r">
              <a:defRPr lang="en-GB" sz="933" smtClean="0">
                <a:solidFill>
                  <a:schemeClr val="accent6"/>
                </a:solidFill>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11" name="Footer Placeholder 4">
            <a:extLst>
              <a:ext uri="{FF2B5EF4-FFF2-40B4-BE49-F238E27FC236}">
                <a16:creationId xmlns:a16="http://schemas.microsoft.com/office/drawing/2014/main" id="{E6C61017-E9EE-48D0-B222-079BF55D563B}"/>
              </a:ext>
            </a:extLst>
          </p:cNvPr>
          <p:cNvSpPr>
            <a:spLocks noGrp="1"/>
          </p:cNvSpPr>
          <p:nvPr>
            <p:ph type="ftr" sz="quarter" idx="3"/>
          </p:nvPr>
        </p:nvSpPr>
        <p:spPr>
          <a:xfrm>
            <a:off x="6576000" y="6408250"/>
            <a:ext cx="2400000" cy="163229"/>
          </a:xfrm>
          <a:prstGeom prst="rect">
            <a:avLst/>
          </a:prstGeom>
        </p:spPr>
        <p:txBody>
          <a:bodyPr vert="horz" lIns="0" tIns="0" rIns="0" bIns="0" rtlCol="0" anchor="b" anchorCtr="0"/>
          <a:lstStyle>
            <a:lvl1pPr algn="r">
              <a:defRPr lang="en-GB" sz="933" dirty="0">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Tree>
    <p:extLst>
      <p:ext uri="{BB962C8B-B14F-4D97-AF65-F5344CB8AC3E}">
        <p14:creationId xmlns:p14="http://schemas.microsoft.com/office/powerpoint/2010/main" val="477773128"/>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7" r:id="rId13"/>
  </p:sldLayoutIdLst>
  <p:hf sldNum="0" hdr="0" ftr="0" dt="0"/>
  <p:txStyles>
    <p:titleStyle>
      <a:lvl1pPr algn="l" defTabSz="914382" rtl="0" eaLnBrk="1" latinLnBrk="0" hangingPunct="1">
        <a:lnSpc>
          <a:spcPct val="95000"/>
        </a:lnSpc>
        <a:spcBef>
          <a:spcPct val="0"/>
        </a:spcBef>
        <a:buNone/>
        <a:defRPr sz="1996" b="1" i="0" kern="1200">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382" rtl="0" eaLnBrk="1" latinLnBrk="0" hangingPunct="1">
        <a:lnSpc>
          <a:spcPct val="95000"/>
        </a:lnSpc>
        <a:spcBef>
          <a:spcPts val="1067"/>
        </a:spcBef>
        <a:buFontTx/>
        <a:buNone/>
        <a:defRPr sz="1733" b="1" kern="1200">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vl2pPr marL="575986" indent="-287993" algn="l" defTabSz="914382" rtl="0" eaLnBrk="1" latinLnBrk="0" hangingPunct="1">
        <a:lnSpc>
          <a:spcPct val="95000"/>
        </a:lnSpc>
        <a:spcBef>
          <a:spcPts val="1067"/>
        </a:spcBef>
        <a:buFont typeface="Arial" panose="020B0604020202020204" pitchFamily="34" charset="0"/>
        <a:buChar char="–"/>
        <a:defRPr sz="1733" kern="1200">
          <a:solidFill>
            <a:schemeClr val="tx2"/>
          </a:solidFill>
          <a:latin typeface="Arial" panose="020B0604020202020204" pitchFamily="34" charset="0"/>
          <a:ea typeface="+mn-ea"/>
          <a:cs typeface="Arial" panose="020B0604020202020204" pitchFamily="34" charset="0"/>
          <a:sym typeface="Arial" panose="020B0604020202020204" pitchFamily="34" charset="0"/>
        </a:defRPr>
      </a:lvl2pPr>
      <a:lvl3pPr marL="863978" indent="-287993" algn="l" defTabSz="914382" rtl="0" eaLnBrk="1" latinLnBrk="0" hangingPunct="1">
        <a:lnSpc>
          <a:spcPct val="95000"/>
        </a:lnSpc>
        <a:spcBef>
          <a:spcPts val="1067"/>
        </a:spcBef>
        <a:buFont typeface="Arial" panose="020B0604020202020204" pitchFamily="34" charset="0"/>
        <a:buChar char="–"/>
        <a:defRPr sz="1733" kern="1200">
          <a:solidFill>
            <a:schemeClr val="tx2"/>
          </a:solidFill>
          <a:latin typeface="Arial" panose="020B0604020202020204" pitchFamily="34" charset="0"/>
          <a:ea typeface="+mn-ea"/>
          <a:cs typeface="Arial" panose="020B0604020202020204" pitchFamily="34" charset="0"/>
          <a:sym typeface="Arial" panose="020B0604020202020204" pitchFamily="34" charset="0"/>
        </a:defRPr>
      </a:lvl3pPr>
      <a:lvl4pPr marL="1151971" indent="-287993" algn="l" defTabSz="914382" rtl="0" eaLnBrk="1" latinLnBrk="0" hangingPunct="1">
        <a:lnSpc>
          <a:spcPct val="95000"/>
        </a:lnSpc>
        <a:spcBef>
          <a:spcPts val="1067"/>
        </a:spcBef>
        <a:buFont typeface="Arial" panose="020B0604020202020204" pitchFamily="34" charset="0"/>
        <a:buChar char="–"/>
        <a:defRPr sz="1733" kern="1200">
          <a:solidFill>
            <a:schemeClr val="tx2"/>
          </a:solidFill>
          <a:latin typeface="Arial" panose="020B0604020202020204" pitchFamily="34" charset="0"/>
          <a:ea typeface="+mn-ea"/>
          <a:cs typeface="Arial" panose="020B0604020202020204" pitchFamily="34" charset="0"/>
          <a:sym typeface="Arial" panose="020B0604020202020204" pitchFamily="34" charset="0"/>
        </a:defRPr>
      </a:lvl4pPr>
      <a:lvl5pPr marL="1439964" indent="-287993" algn="l" defTabSz="914382" rtl="0" eaLnBrk="1" latinLnBrk="0" hangingPunct="1">
        <a:lnSpc>
          <a:spcPct val="95000"/>
        </a:lnSpc>
        <a:spcBef>
          <a:spcPts val="1067"/>
        </a:spcBef>
        <a:buFont typeface="Arial" panose="020B0604020202020204" pitchFamily="34" charset="0"/>
        <a:buChar char="–"/>
        <a:defRPr sz="1733" kern="1200">
          <a:solidFill>
            <a:schemeClr val="tx2"/>
          </a:solidFill>
          <a:latin typeface="Arial" panose="020B0604020202020204" pitchFamily="34" charset="0"/>
          <a:ea typeface="+mn-ea"/>
          <a:cs typeface="Arial" panose="020B0604020202020204" pitchFamily="34" charset="0"/>
          <a:sym typeface="Arial" panose="020B0604020202020204" pitchFamily="34" charset="0"/>
        </a:defRPr>
      </a:lvl5pPr>
      <a:lvl6pPr marL="881777" indent="-195950" algn="l" defTabSz="914382" rtl="0" eaLnBrk="1" latinLnBrk="0" hangingPunct="1">
        <a:lnSpc>
          <a:spcPct val="96000"/>
        </a:lnSpc>
        <a:spcBef>
          <a:spcPts val="1088"/>
        </a:spcBef>
        <a:buFont typeface="Arial" panose="020B0604020202020204" pitchFamily="34" charset="0"/>
        <a:buChar char="•"/>
        <a:defRPr lang="en-GB" sz="1733" kern="1200" noProof="0" dirty="0">
          <a:solidFill>
            <a:schemeClr val="tx2"/>
          </a:solidFill>
          <a:latin typeface="Arial" panose="020B0604020202020204" pitchFamily="34" charset="0"/>
          <a:ea typeface="+mn-ea"/>
          <a:cs typeface="Arial" panose="020B0604020202020204" pitchFamily="34" charset="0"/>
          <a:sym typeface="Arial" panose="020B0604020202020204" pitchFamily="34" charset="0"/>
        </a:defRPr>
      </a:lvl6pPr>
      <a:lvl7pPr marL="881777" indent="-195950" algn="l" defTabSz="914382" rtl="0" eaLnBrk="1" latinLnBrk="0" hangingPunct="1">
        <a:lnSpc>
          <a:spcPct val="96000"/>
        </a:lnSpc>
        <a:spcBef>
          <a:spcPts val="1088"/>
        </a:spcBef>
        <a:buFont typeface="Arial" panose="020B0604020202020204" pitchFamily="34" charset="0"/>
        <a:buChar char="•"/>
        <a:defRPr lang="en-GB" sz="1733" kern="1200" baseline="0" noProof="0" dirty="0">
          <a:solidFill>
            <a:schemeClr val="tx2"/>
          </a:solidFill>
          <a:latin typeface="Arial" panose="020B0604020202020204" pitchFamily="34" charset="0"/>
          <a:ea typeface="+mn-ea"/>
          <a:cs typeface="Arial" panose="020B0604020202020204" pitchFamily="34" charset="0"/>
          <a:sym typeface="Arial" panose="020B0604020202020204" pitchFamily="34" charset="0"/>
        </a:defRPr>
      </a:lvl7pPr>
      <a:lvl8pPr marL="881777" indent="-195950" algn="l" defTabSz="914382" rtl="0" eaLnBrk="1" latinLnBrk="0" hangingPunct="1">
        <a:lnSpc>
          <a:spcPct val="96000"/>
        </a:lnSpc>
        <a:spcBef>
          <a:spcPts val="1088"/>
        </a:spcBef>
        <a:buFont typeface="Arial" panose="020B0604020202020204" pitchFamily="34" charset="0"/>
        <a:buChar char="•"/>
        <a:defRPr sz="1180" kern="1200">
          <a:solidFill>
            <a:schemeClr val="tx1"/>
          </a:solidFill>
          <a:latin typeface="+mn-lt"/>
          <a:ea typeface="+mn-ea"/>
          <a:cs typeface="+mn-cs"/>
        </a:defRPr>
      </a:lvl8pPr>
      <a:lvl9pPr marL="881777" indent="-195950" algn="l" defTabSz="914382" rtl="0" eaLnBrk="1" latinLnBrk="0" hangingPunct="1">
        <a:lnSpc>
          <a:spcPct val="96000"/>
        </a:lnSpc>
        <a:spcBef>
          <a:spcPts val="1088"/>
        </a:spcBef>
        <a:buFont typeface="Arial" panose="020B0604020202020204" pitchFamily="34" charset="0"/>
        <a:buChar char="•"/>
        <a:defRPr sz="1180" kern="1200" baseline="0">
          <a:solidFill>
            <a:schemeClr val="tx1"/>
          </a:solidFill>
          <a:latin typeface="+mn-lt"/>
          <a:ea typeface="+mn-ea"/>
          <a:cs typeface="+mn-cs"/>
        </a:defRPr>
      </a:lvl9pPr>
    </p:bodyStyle>
    <p:otherStyle>
      <a:defPPr>
        <a:defRPr lang="en-US"/>
      </a:defPPr>
      <a:lvl1pPr marL="0" algn="l" defTabSz="914382" rtl="0" eaLnBrk="1" latinLnBrk="0" hangingPunct="1">
        <a:defRPr sz="1800" kern="1200">
          <a:solidFill>
            <a:schemeClr val="tx1"/>
          </a:solidFill>
          <a:latin typeface="+mn-lt"/>
          <a:ea typeface="+mn-ea"/>
          <a:cs typeface="+mn-cs"/>
        </a:defRPr>
      </a:lvl1pPr>
      <a:lvl2pPr marL="457193" algn="l" defTabSz="914382" rtl="0" eaLnBrk="1" latinLnBrk="0" hangingPunct="1">
        <a:defRPr sz="1800" kern="1200">
          <a:solidFill>
            <a:schemeClr val="tx1"/>
          </a:solidFill>
          <a:latin typeface="+mn-lt"/>
          <a:ea typeface="+mn-ea"/>
          <a:cs typeface="+mn-cs"/>
        </a:defRPr>
      </a:lvl2pPr>
      <a:lvl3pPr marL="914382" algn="l" defTabSz="914382" rtl="0" eaLnBrk="1" latinLnBrk="0" hangingPunct="1">
        <a:defRPr sz="1800" kern="1200">
          <a:solidFill>
            <a:schemeClr val="tx1"/>
          </a:solidFill>
          <a:latin typeface="+mn-lt"/>
          <a:ea typeface="+mn-ea"/>
          <a:cs typeface="+mn-cs"/>
        </a:defRPr>
      </a:lvl3pPr>
      <a:lvl4pPr marL="1371575" algn="l" defTabSz="914382" rtl="0" eaLnBrk="1" latinLnBrk="0" hangingPunct="1">
        <a:defRPr sz="1800" kern="1200">
          <a:solidFill>
            <a:schemeClr val="tx1"/>
          </a:solidFill>
          <a:latin typeface="+mn-lt"/>
          <a:ea typeface="+mn-ea"/>
          <a:cs typeface="+mn-cs"/>
        </a:defRPr>
      </a:lvl4pPr>
      <a:lvl5pPr marL="1828766" algn="l" defTabSz="914382" rtl="0" eaLnBrk="1" latinLnBrk="0" hangingPunct="1">
        <a:defRPr sz="1800" kern="1200">
          <a:solidFill>
            <a:schemeClr val="tx1"/>
          </a:solidFill>
          <a:latin typeface="+mn-lt"/>
          <a:ea typeface="+mn-ea"/>
          <a:cs typeface="+mn-cs"/>
        </a:defRPr>
      </a:lvl5pPr>
      <a:lvl6pPr marL="2285958" algn="l" defTabSz="914382" rtl="0" eaLnBrk="1" latinLnBrk="0" hangingPunct="1">
        <a:defRPr sz="1800" kern="1200">
          <a:solidFill>
            <a:schemeClr val="tx1"/>
          </a:solidFill>
          <a:latin typeface="+mn-lt"/>
          <a:ea typeface="+mn-ea"/>
          <a:cs typeface="+mn-cs"/>
        </a:defRPr>
      </a:lvl6pPr>
      <a:lvl7pPr marL="2743149" algn="l" defTabSz="914382" rtl="0" eaLnBrk="1" latinLnBrk="0" hangingPunct="1">
        <a:defRPr sz="1800" kern="1200">
          <a:solidFill>
            <a:schemeClr val="tx1"/>
          </a:solidFill>
          <a:latin typeface="+mn-lt"/>
          <a:ea typeface="+mn-ea"/>
          <a:cs typeface="+mn-cs"/>
        </a:defRPr>
      </a:lvl7pPr>
      <a:lvl8pPr marL="3200341" algn="l" defTabSz="914382" rtl="0" eaLnBrk="1" latinLnBrk="0" hangingPunct="1">
        <a:defRPr sz="1800" kern="1200">
          <a:solidFill>
            <a:schemeClr val="tx1"/>
          </a:solidFill>
          <a:latin typeface="+mn-lt"/>
          <a:ea typeface="+mn-ea"/>
          <a:cs typeface="+mn-cs"/>
        </a:defRPr>
      </a:lvl8pPr>
      <a:lvl9pPr marL="3657533" algn="l" defTabSz="91438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1456539"/>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 id="2147483769" r:id="rId24"/>
    <p:sldLayoutId id="2147483770" r:id="rId25"/>
    <p:sldLayoutId id="2147483771" r:id="rId26"/>
    <p:sldLayoutId id="2147483772" r:id="rId27"/>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blipFill dpi="0" rotWithShape="0">
          <a:blip r:embed="rId12"/>
          <a:srcRect/>
          <a:stretch>
            <a:fillRect/>
          </a:stretch>
        </a:blip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7F84419E-8F46-4D80-9AF0-160B55395D00}"/>
              </a:ext>
            </a:extLst>
          </p:cNvPr>
          <p:cNvSpPr>
            <a:spLocks noGrp="1"/>
          </p:cNvSpPr>
          <p:nvPr>
            <p:ph type="title"/>
          </p:nvPr>
        </p:nvSpPr>
        <p:spPr bwMode="auto">
          <a:xfrm>
            <a:off x="641351" y="425451"/>
            <a:ext cx="11154833" cy="865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a:t>Click to edit Master title style</a:t>
            </a:r>
            <a:endParaRPr lang="en-GB" altLang="en-US"/>
          </a:p>
        </p:txBody>
      </p:sp>
      <p:sp>
        <p:nvSpPr>
          <p:cNvPr id="1027" name="Text Placeholder 2">
            <a:extLst>
              <a:ext uri="{FF2B5EF4-FFF2-40B4-BE49-F238E27FC236}">
                <a16:creationId xmlns:a16="http://schemas.microsoft.com/office/drawing/2014/main" id="{200D0EB0-8097-4DB5-B613-BB93E2EC3B53}"/>
              </a:ext>
            </a:extLst>
          </p:cNvPr>
          <p:cNvSpPr>
            <a:spLocks noGrp="1"/>
          </p:cNvSpPr>
          <p:nvPr>
            <p:ph type="body" idx="1"/>
          </p:nvPr>
        </p:nvSpPr>
        <p:spPr bwMode="auto">
          <a:xfrm>
            <a:off x="641351" y="1299634"/>
            <a:ext cx="11154833" cy="43920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sp>
        <p:nvSpPr>
          <p:cNvPr id="7" name="Rectangle 8">
            <a:extLst>
              <a:ext uri="{FF2B5EF4-FFF2-40B4-BE49-F238E27FC236}">
                <a16:creationId xmlns:a16="http://schemas.microsoft.com/office/drawing/2014/main" id="{A272F89A-D745-4D52-9BB9-E4A2F7331BD9}"/>
              </a:ext>
            </a:extLst>
          </p:cNvPr>
          <p:cNvSpPr>
            <a:spLocks noGrp="1" noChangeArrowheads="1"/>
          </p:cNvSpPr>
          <p:nvPr>
            <p:ph type="ftr" sz="quarter" idx="3"/>
          </p:nvPr>
        </p:nvSpPr>
        <p:spPr bwMode="auto">
          <a:xfrm>
            <a:off x="643467" y="6282267"/>
            <a:ext cx="8595784" cy="404284"/>
          </a:xfrm>
          <a:prstGeom prst="rect">
            <a:avLst/>
          </a:prstGeom>
          <a:noFill/>
          <a:ln w="9525">
            <a:noFill/>
            <a:miter lim="800000"/>
            <a:headEnd/>
            <a:tailEnd/>
          </a:ln>
          <a:effectLst/>
        </p:spPr>
        <p:txBody>
          <a:bodyPr vert="horz" wrap="square" lIns="0" tIns="45720" rIns="91440" bIns="45720" numCol="1" anchor="ctr" anchorCtr="0" compatLnSpc="1">
            <a:prstTxWarp prst="textNoShape">
              <a:avLst/>
            </a:prstTxWarp>
          </a:bodyPr>
          <a:lstStyle>
            <a:lvl1pPr eaLnBrk="1" fontAlgn="auto" hangingPunct="1">
              <a:spcBef>
                <a:spcPts val="0"/>
              </a:spcBef>
              <a:spcAft>
                <a:spcPts val="0"/>
              </a:spcAft>
              <a:defRPr sz="933">
                <a:solidFill>
                  <a:schemeClr val="tx1"/>
                </a:solidFill>
                <a:latin typeface="+mn-lt"/>
                <a:cs typeface="+mn-cs"/>
              </a:defRPr>
            </a:lvl1pPr>
          </a:lstStyle>
          <a:p>
            <a:pPr>
              <a:defRPr/>
            </a:pPr>
            <a:r>
              <a:rPr lang="en-GB" altLang="en-US" dirty="0"/>
              <a:t>Document Title | BUSINESS UNIT(S) | OFFICIAL – SENSITIVE: SNI | SUBJECT TO EXPORT CONTROL | LEGALLY PRIVILEGED | PROTECT – PRIVATE | PROTECT – COMMERCIAL &amp; CONTRACTS | NOT PROTECTIVELY MARKED | © 2020 EDF Energy Ltd. All rights Reserved.</a:t>
            </a:r>
          </a:p>
        </p:txBody>
      </p:sp>
      <p:sp>
        <p:nvSpPr>
          <p:cNvPr id="8" name="Rectangle 14">
            <a:extLst>
              <a:ext uri="{FF2B5EF4-FFF2-40B4-BE49-F238E27FC236}">
                <a16:creationId xmlns:a16="http://schemas.microsoft.com/office/drawing/2014/main" id="{75BEC0DC-02B6-4562-80D4-9FF00CE328A3}"/>
              </a:ext>
            </a:extLst>
          </p:cNvPr>
          <p:cNvSpPr>
            <a:spLocks noGrp="1" noChangeArrowheads="1"/>
          </p:cNvSpPr>
          <p:nvPr>
            <p:ph type="sldNum" sz="quarter" idx="4"/>
          </p:nvPr>
        </p:nvSpPr>
        <p:spPr bwMode="auto">
          <a:xfrm>
            <a:off x="67734" y="6282267"/>
            <a:ext cx="575733" cy="4042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eaLnBrk="0" hangingPunct="0">
              <a:defRPr sz="1333"/>
            </a:lvl1pPr>
          </a:lstStyle>
          <a:p>
            <a:pPr>
              <a:defRPr/>
            </a:pPr>
            <a:fld id="{8BF0E59A-4249-4C7D-A5F0-5FB3C74A928D}" type="slidenum">
              <a:rPr lang="en-GB" altLang="en-US"/>
              <a:pPr>
                <a:defRPr/>
              </a:pPr>
              <a:t>‹#›</a:t>
            </a:fld>
            <a:endParaRPr lang="en-GB" altLang="en-US" dirty="0"/>
          </a:p>
        </p:txBody>
      </p:sp>
    </p:spTree>
    <p:extLst>
      <p:ext uri="{BB962C8B-B14F-4D97-AF65-F5344CB8AC3E}">
        <p14:creationId xmlns:p14="http://schemas.microsoft.com/office/powerpoint/2010/main" val="433992930"/>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Lst>
  <p:hf hdr="0" dt="0"/>
  <p:txStyles>
    <p:titleStyle>
      <a:lvl1pPr algn="l" rtl="0" eaLnBrk="0" fontAlgn="base" hangingPunct="0">
        <a:spcBef>
          <a:spcPct val="0"/>
        </a:spcBef>
        <a:spcAft>
          <a:spcPct val="0"/>
        </a:spcAft>
        <a:defRPr lang="en-GB" sz="3467" kern="1200" dirty="0">
          <a:solidFill>
            <a:schemeClr val="accent1"/>
          </a:solidFill>
          <a:latin typeface="Frutiger LT 45 Light" pitchFamily="34" charset="0"/>
          <a:ea typeface="+mj-ea"/>
          <a:cs typeface="+mj-cs"/>
        </a:defRPr>
      </a:lvl1pPr>
      <a:lvl2pPr algn="l" rtl="0" eaLnBrk="0" fontAlgn="base" hangingPunct="0">
        <a:spcBef>
          <a:spcPct val="0"/>
        </a:spcBef>
        <a:spcAft>
          <a:spcPct val="0"/>
        </a:spcAft>
        <a:defRPr sz="3467">
          <a:solidFill>
            <a:schemeClr val="accent1"/>
          </a:solidFill>
          <a:latin typeface="Frutiger LT 45 Light" panose="020B0402020204020204" pitchFamily="34" charset="0"/>
        </a:defRPr>
      </a:lvl2pPr>
      <a:lvl3pPr algn="l" rtl="0" eaLnBrk="0" fontAlgn="base" hangingPunct="0">
        <a:spcBef>
          <a:spcPct val="0"/>
        </a:spcBef>
        <a:spcAft>
          <a:spcPct val="0"/>
        </a:spcAft>
        <a:defRPr sz="3467">
          <a:solidFill>
            <a:schemeClr val="accent1"/>
          </a:solidFill>
          <a:latin typeface="Frutiger LT 45 Light" panose="020B0402020204020204" pitchFamily="34" charset="0"/>
        </a:defRPr>
      </a:lvl3pPr>
      <a:lvl4pPr algn="l" rtl="0" eaLnBrk="0" fontAlgn="base" hangingPunct="0">
        <a:spcBef>
          <a:spcPct val="0"/>
        </a:spcBef>
        <a:spcAft>
          <a:spcPct val="0"/>
        </a:spcAft>
        <a:defRPr sz="3467">
          <a:solidFill>
            <a:schemeClr val="accent1"/>
          </a:solidFill>
          <a:latin typeface="Frutiger LT 45 Light" panose="020B0402020204020204" pitchFamily="34" charset="0"/>
        </a:defRPr>
      </a:lvl4pPr>
      <a:lvl5pPr algn="l" rtl="0" eaLnBrk="0" fontAlgn="base" hangingPunct="0">
        <a:spcBef>
          <a:spcPct val="0"/>
        </a:spcBef>
        <a:spcAft>
          <a:spcPct val="0"/>
        </a:spcAft>
        <a:defRPr sz="3467">
          <a:solidFill>
            <a:schemeClr val="accent1"/>
          </a:solidFill>
          <a:latin typeface="Frutiger LT 45 Light" panose="020B0402020204020204" pitchFamily="34" charset="0"/>
        </a:defRPr>
      </a:lvl5pPr>
      <a:lvl6pPr marL="609585" algn="l" rtl="0" fontAlgn="base">
        <a:spcBef>
          <a:spcPct val="0"/>
        </a:spcBef>
        <a:spcAft>
          <a:spcPct val="0"/>
        </a:spcAft>
        <a:defRPr sz="3467">
          <a:solidFill>
            <a:schemeClr val="accent1"/>
          </a:solidFill>
          <a:latin typeface="Frutiger LT 45 Light" panose="020B0402020204020204" pitchFamily="34" charset="0"/>
        </a:defRPr>
      </a:lvl6pPr>
      <a:lvl7pPr marL="1219170" algn="l" rtl="0" fontAlgn="base">
        <a:spcBef>
          <a:spcPct val="0"/>
        </a:spcBef>
        <a:spcAft>
          <a:spcPct val="0"/>
        </a:spcAft>
        <a:defRPr sz="3467">
          <a:solidFill>
            <a:schemeClr val="accent1"/>
          </a:solidFill>
          <a:latin typeface="Frutiger LT 45 Light" panose="020B0402020204020204" pitchFamily="34" charset="0"/>
        </a:defRPr>
      </a:lvl7pPr>
      <a:lvl8pPr marL="1828754" algn="l" rtl="0" fontAlgn="base">
        <a:spcBef>
          <a:spcPct val="0"/>
        </a:spcBef>
        <a:spcAft>
          <a:spcPct val="0"/>
        </a:spcAft>
        <a:defRPr sz="3467">
          <a:solidFill>
            <a:schemeClr val="accent1"/>
          </a:solidFill>
          <a:latin typeface="Frutiger LT 45 Light" panose="020B0402020204020204" pitchFamily="34" charset="0"/>
        </a:defRPr>
      </a:lvl8pPr>
      <a:lvl9pPr marL="2438339" algn="l" rtl="0" fontAlgn="base">
        <a:spcBef>
          <a:spcPct val="0"/>
        </a:spcBef>
        <a:spcAft>
          <a:spcPct val="0"/>
        </a:spcAft>
        <a:defRPr sz="3467">
          <a:solidFill>
            <a:schemeClr val="accent1"/>
          </a:solidFill>
          <a:latin typeface="Frutiger LT 45 Light" panose="020B0402020204020204" pitchFamily="34" charset="0"/>
        </a:defRPr>
      </a:lvl9pPr>
    </p:titleStyle>
    <p:bodyStyle>
      <a:lvl1pPr marL="455073" indent="-455073" algn="l" rtl="0" eaLnBrk="0" fontAlgn="base" hangingPunct="0">
        <a:spcBef>
          <a:spcPct val="20000"/>
        </a:spcBef>
        <a:spcAft>
          <a:spcPct val="0"/>
        </a:spcAft>
        <a:buClr>
          <a:schemeClr val="accent1"/>
        </a:buClr>
        <a:buFont typeface="Arial" panose="020B0604020202020204" pitchFamily="34" charset="0"/>
        <a:buChar char="•"/>
        <a:defRPr lang="en-US" sz="2667" kern="1200" dirty="0">
          <a:solidFill>
            <a:schemeClr val="tx1"/>
          </a:solidFill>
          <a:latin typeface="Frutiger LT 45 Light" pitchFamily="34" charset="0"/>
          <a:ea typeface="+mn-ea"/>
          <a:cs typeface="+mn-cs"/>
        </a:defRPr>
      </a:lvl1pPr>
      <a:lvl2pPr marL="920728" indent="-444489" algn="l" rtl="0" eaLnBrk="0" fontAlgn="base" hangingPunct="0">
        <a:spcBef>
          <a:spcPct val="20000"/>
        </a:spcBef>
        <a:spcAft>
          <a:spcPct val="0"/>
        </a:spcAft>
        <a:buClr>
          <a:schemeClr val="accent1"/>
        </a:buClr>
        <a:buFont typeface="Arial" panose="020B0604020202020204" pitchFamily="34" charset="0"/>
        <a:buChar char="-"/>
        <a:defRPr lang="en-US" sz="2667" kern="1200" dirty="0">
          <a:solidFill>
            <a:schemeClr val="tx1"/>
          </a:solidFill>
          <a:latin typeface="Frutiger LT 45 Light" pitchFamily="34" charset="0"/>
          <a:ea typeface="+mn-ea"/>
          <a:cs typeface="+mn-cs"/>
        </a:defRPr>
      </a:lvl2pPr>
      <a:lvl3pPr marL="1377916" indent="-455073" algn="l" rtl="0" eaLnBrk="0" fontAlgn="base" hangingPunct="0">
        <a:spcBef>
          <a:spcPct val="20000"/>
        </a:spcBef>
        <a:spcAft>
          <a:spcPct val="0"/>
        </a:spcAft>
        <a:buClr>
          <a:schemeClr val="accent1"/>
        </a:buClr>
        <a:buFont typeface="Arial" panose="020B0604020202020204" pitchFamily="34" charset="0"/>
        <a:buChar char="•"/>
        <a:defRPr lang="en-US" sz="2667" kern="1200" dirty="0">
          <a:solidFill>
            <a:schemeClr val="tx1"/>
          </a:solidFill>
          <a:latin typeface="Frutiger LT 45 Light" pitchFamily="34" charset="0"/>
          <a:ea typeface="+mn-ea"/>
          <a:cs typeface="+mn-cs"/>
        </a:defRPr>
      </a:lvl3pPr>
      <a:lvl4pPr marL="1847804" indent="-444489" algn="l" rtl="0" eaLnBrk="0" fontAlgn="base" hangingPunct="0">
        <a:spcBef>
          <a:spcPct val="20000"/>
        </a:spcBef>
        <a:spcAft>
          <a:spcPct val="0"/>
        </a:spcAft>
        <a:buClr>
          <a:schemeClr val="accent1"/>
        </a:buClr>
        <a:buFont typeface="Arial" panose="020B0604020202020204" pitchFamily="34" charset="0"/>
        <a:buChar char="-"/>
        <a:defRPr lang="en-US" sz="2667" kern="1200" dirty="0">
          <a:solidFill>
            <a:schemeClr val="tx1"/>
          </a:solidFill>
          <a:latin typeface="Frutiger LT 45 Light" pitchFamily="34" charset="0"/>
          <a:ea typeface="+mn-ea"/>
          <a:cs typeface="+mn-cs"/>
        </a:defRPr>
      </a:lvl4pPr>
      <a:lvl5pPr marL="2368491" indent="-514338" algn="l" rtl="0" eaLnBrk="0" fontAlgn="base" hangingPunct="0">
        <a:spcBef>
          <a:spcPct val="20000"/>
        </a:spcBef>
        <a:spcAft>
          <a:spcPct val="0"/>
        </a:spcAft>
        <a:buClr>
          <a:schemeClr val="accent1"/>
        </a:buClr>
        <a:buFont typeface="Arial" panose="020B0604020202020204" pitchFamily="34" charset="0"/>
        <a:buChar char="»"/>
        <a:defRPr lang="en-GB" sz="2667" kern="1200" dirty="0">
          <a:solidFill>
            <a:schemeClr val="tx1"/>
          </a:solidFill>
          <a:latin typeface="Frutiger LT 45 Light" pitchFamily="34" charset="0"/>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214866F-397A-442D-8608-60CDBC114A02}"/>
              </a:ext>
            </a:extLst>
          </p:cNvPr>
          <p:cNvSpPr>
            <a:spLocks noGrp="1"/>
          </p:cNvSpPr>
          <p:nvPr>
            <p:ph type="body" idx="1"/>
          </p:nvPr>
        </p:nvSpPr>
        <p:spPr>
          <a:xfrm>
            <a:off x="431401" y="1414217"/>
            <a:ext cx="11328399" cy="3980577"/>
          </a:xfrm>
          <a:prstGeom prst="rect">
            <a:avLst/>
          </a:prstGeom>
        </p:spPr>
        <p:txBody>
          <a:bodyPr vert="horz" wrap="square" lIns="0" tIns="0" rIns="0" bIns="0" rtlCol="0">
            <a:spAutoFit/>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4" name="Title Placeholder 3">
            <a:extLst>
              <a:ext uri="{FF2B5EF4-FFF2-40B4-BE49-F238E27FC236}">
                <a16:creationId xmlns:a16="http://schemas.microsoft.com/office/drawing/2014/main" id="{385A9BAF-70C4-4682-9C98-A7480CE7E49F}"/>
              </a:ext>
            </a:extLst>
          </p:cNvPr>
          <p:cNvSpPr>
            <a:spLocks noGrp="1"/>
          </p:cNvSpPr>
          <p:nvPr>
            <p:ph type="title"/>
          </p:nvPr>
        </p:nvSpPr>
        <p:spPr>
          <a:xfrm>
            <a:off x="431401" y="441140"/>
            <a:ext cx="11327999" cy="393955"/>
          </a:xfrm>
          <a:prstGeom prst="rect">
            <a:avLst/>
          </a:prstGeom>
        </p:spPr>
        <p:txBody>
          <a:bodyPr vert="horz" wrap="square" lIns="0" tIns="0" rIns="0" bIns="0" rtlCol="0" anchor="t">
            <a:noAutofit/>
          </a:bodyPr>
          <a:lstStyle/>
          <a:p>
            <a:r>
              <a:rPr lang="en-US"/>
              <a:t>Click to edit Master title style</a:t>
            </a:r>
            <a:endParaRPr lang="en-GB"/>
          </a:p>
        </p:txBody>
      </p:sp>
      <p:sp>
        <p:nvSpPr>
          <p:cNvPr id="6" name="TextBox 5">
            <a:extLst>
              <a:ext uri="{FF2B5EF4-FFF2-40B4-BE49-F238E27FC236}">
                <a16:creationId xmlns:a16="http://schemas.microsoft.com/office/drawing/2014/main" id="{CB375368-3DA2-4068-999A-FD7D5CC1593E}"/>
              </a:ext>
            </a:extLst>
          </p:cNvPr>
          <p:cNvSpPr txBox="1"/>
          <p:nvPr userDrawn="1"/>
        </p:nvSpPr>
        <p:spPr>
          <a:xfrm>
            <a:off x="431801" y="6260793"/>
            <a:ext cx="1113553" cy="246221"/>
          </a:xfrm>
          <a:prstGeom prst="rect">
            <a:avLst/>
          </a:prstGeom>
          <a:noFill/>
        </p:spPr>
        <p:txBody>
          <a:bodyPr wrap="square" lIns="0" tIns="0" rIns="0" bIns="0" rtlCol="0">
            <a:spAutoFit/>
          </a:bodyPr>
          <a:lstStyle/>
          <a:p>
            <a:fld id="{8A64BEAD-2F81-4807-9FB1-B1EFCD142F0E}" type="slidenum">
              <a:rPr lang="en-GB" sz="1600" smtClean="0">
                <a:solidFill>
                  <a:schemeClr val="accent1"/>
                </a:solidFill>
              </a:rPr>
              <a:pPr/>
              <a:t>‹#›</a:t>
            </a:fld>
            <a:endParaRPr lang="en-GB" sz="1600" dirty="0">
              <a:solidFill>
                <a:schemeClr val="accent1"/>
              </a:solidFill>
            </a:endParaRPr>
          </a:p>
        </p:txBody>
      </p:sp>
      <p:pic>
        <p:nvPicPr>
          <p:cNvPr id="8" name="Picture 7">
            <a:extLst>
              <a:ext uri="{FF2B5EF4-FFF2-40B4-BE49-F238E27FC236}">
                <a16:creationId xmlns:a16="http://schemas.microsoft.com/office/drawing/2014/main" id="{17DFA1DF-B17A-476E-B757-42F3AEE3DC4B}"/>
              </a:ext>
            </a:extLst>
          </p:cNvPr>
          <p:cNvPicPr>
            <a:picLocks noChangeAspect="1"/>
          </p:cNvPicPr>
          <p:nvPr userDrawn="1"/>
        </p:nvPicPr>
        <p:blipFill>
          <a:blip r:embed="rId19"/>
          <a:stretch>
            <a:fillRect/>
          </a:stretch>
        </p:blipFill>
        <p:spPr>
          <a:xfrm>
            <a:off x="9965223" y="6237768"/>
            <a:ext cx="1794176" cy="268024"/>
          </a:xfrm>
          <a:prstGeom prst="rect">
            <a:avLst/>
          </a:prstGeom>
        </p:spPr>
      </p:pic>
    </p:spTree>
    <p:extLst>
      <p:ext uri="{BB962C8B-B14F-4D97-AF65-F5344CB8AC3E}">
        <p14:creationId xmlns:p14="http://schemas.microsoft.com/office/powerpoint/2010/main" val="1472283892"/>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 id="2147483800" r:id="rId16"/>
    <p:sldLayoutId id="2147483801" r:id="rId17"/>
  </p:sldLayoutIdLst>
  <p:txStyles>
    <p:titleStyle>
      <a:lvl1pPr eaLnBrk="1" hangingPunct="1">
        <a:lnSpc>
          <a:spcPct val="80000"/>
        </a:lnSpc>
        <a:defRPr sz="3200" b="1">
          <a:solidFill>
            <a:schemeClr val="accent1"/>
          </a:solidFill>
          <a:latin typeface="+mj-lt"/>
          <a:ea typeface="+mj-ea"/>
          <a:cs typeface="+mj-cs"/>
        </a:defRPr>
      </a:lvl1pPr>
    </p:titleStyle>
    <p:bodyStyle>
      <a:lvl1pPr marL="0" indent="0" eaLnBrk="1" hangingPunct="1">
        <a:spcAft>
          <a:spcPts val="800"/>
        </a:spcAft>
        <a:buFont typeface="Wingdings 2" panose="05020102010507070707" pitchFamily="18" charset="2"/>
        <a:buNone/>
        <a:defRPr sz="2400" b="1">
          <a:solidFill>
            <a:schemeClr val="accent1"/>
          </a:solidFill>
          <a:latin typeface="+mn-lt"/>
          <a:ea typeface="+mn-ea"/>
          <a:cs typeface="+mn-cs"/>
        </a:defRPr>
      </a:lvl1pPr>
      <a:lvl2pPr marL="0" indent="0" eaLnBrk="1" hangingPunct="1">
        <a:spcAft>
          <a:spcPts val="800"/>
        </a:spcAft>
        <a:buFont typeface="Wingdings 2" panose="05020102010507070707" pitchFamily="18" charset="2"/>
        <a:buNone/>
        <a:defRPr sz="2133">
          <a:solidFill>
            <a:schemeClr val="tx1"/>
          </a:solidFill>
          <a:latin typeface="+mn-lt"/>
          <a:ea typeface="+mn-ea"/>
          <a:cs typeface="+mn-cs"/>
        </a:defRPr>
      </a:lvl2pPr>
      <a:lvl3pPr marL="239994" indent="-239994" eaLnBrk="1" hangingPunct="1">
        <a:spcAft>
          <a:spcPts val="800"/>
        </a:spcAft>
        <a:buClr>
          <a:schemeClr val="accent1"/>
        </a:buClr>
        <a:buFont typeface="Wingdings 2" panose="05020102010507070707" pitchFamily="18" charset="2"/>
        <a:buChar char=""/>
        <a:defRPr sz="2133">
          <a:solidFill>
            <a:schemeClr val="tx1"/>
          </a:solidFill>
          <a:latin typeface="+mn-lt"/>
          <a:ea typeface="+mn-ea"/>
          <a:cs typeface="+mn-cs"/>
        </a:defRPr>
      </a:lvl3pPr>
      <a:lvl4pPr marL="479988" indent="-239994" eaLnBrk="1" hangingPunct="1">
        <a:spcAft>
          <a:spcPts val="800"/>
        </a:spcAft>
        <a:buClr>
          <a:schemeClr val="accent1"/>
        </a:buClr>
        <a:buFont typeface="Symbol" panose="05050102010706020507" pitchFamily="18" charset="2"/>
        <a:buChar char=""/>
        <a:defRPr sz="2133">
          <a:solidFill>
            <a:schemeClr val="tx1"/>
          </a:solidFill>
          <a:latin typeface="+mn-lt"/>
          <a:ea typeface="+mn-ea"/>
          <a:cs typeface="+mn-cs"/>
        </a:defRPr>
      </a:lvl4pPr>
      <a:lvl5pPr marL="719982" indent="-239994" eaLnBrk="1" hangingPunct="1">
        <a:spcAft>
          <a:spcPts val="800"/>
        </a:spcAft>
        <a:buClr>
          <a:schemeClr val="accent1"/>
        </a:buClr>
        <a:buFont typeface="Symbol" panose="05050102010706020507" pitchFamily="18" charset="2"/>
        <a:buChar char=""/>
        <a:defRPr sz="2133">
          <a:solidFill>
            <a:schemeClr val="tx1"/>
          </a:solidFill>
          <a:latin typeface="+mn-lt"/>
          <a:ea typeface="+mn-ea"/>
          <a:cs typeface="+mn-cs"/>
        </a:defRPr>
      </a:lvl5pPr>
      <a:lvl6pPr marL="239994" indent="-239994" eaLnBrk="1" hangingPunct="1">
        <a:spcAft>
          <a:spcPts val="800"/>
        </a:spcAft>
        <a:buFont typeface="+mj-lt"/>
        <a:buAutoNum type="arabicPeriod"/>
        <a:defRPr sz="2133">
          <a:solidFill>
            <a:schemeClr val="tx1"/>
          </a:solidFill>
          <a:latin typeface="+mn-lt"/>
          <a:ea typeface="+mn-ea"/>
          <a:cs typeface="+mn-cs"/>
        </a:defRPr>
      </a:lvl6pPr>
      <a:lvl7pPr marL="479988" indent="-239994" eaLnBrk="1" hangingPunct="1">
        <a:spcAft>
          <a:spcPts val="800"/>
        </a:spcAft>
        <a:buFont typeface="+mj-lt"/>
        <a:buAutoNum type="alphaLcPeriod"/>
        <a:defRPr sz="2133">
          <a:solidFill>
            <a:schemeClr val="tx1"/>
          </a:solidFill>
          <a:latin typeface="+mn-lt"/>
          <a:ea typeface="+mn-ea"/>
          <a:cs typeface="+mn-cs"/>
        </a:defRPr>
      </a:lvl7pPr>
      <a:lvl8pPr marL="719982" indent="-239994" eaLnBrk="1" hangingPunct="1">
        <a:spcAft>
          <a:spcPts val="800"/>
        </a:spcAft>
        <a:buFont typeface="+mj-lt"/>
        <a:buAutoNum type="romanLcPeriod"/>
        <a:defRPr sz="2133">
          <a:solidFill>
            <a:schemeClr val="tx1"/>
          </a:solidFill>
          <a:latin typeface="+mn-lt"/>
          <a:ea typeface="+mn-ea"/>
          <a:cs typeface="+mn-cs"/>
        </a:defRPr>
      </a:lvl8pPr>
      <a:lvl9pPr marL="0" indent="0" eaLnBrk="1" hangingPunct="1">
        <a:spcAft>
          <a:spcPts val="800"/>
        </a:spcAft>
        <a:defRPr sz="3200">
          <a:solidFill>
            <a:schemeClr val="accent1"/>
          </a:solidFill>
          <a:latin typeface="+mn-lt"/>
          <a:ea typeface="+mn-ea"/>
          <a:cs typeface="+mn-cs"/>
        </a:defRPr>
      </a:lvl9pPr>
    </p:bodyStyle>
    <p:otherStyle>
      <a:lvl1pPr marL="0" eaLnBrk="1" hangingPunct="1">
        <a:defRPr>
          <a:latin typeface="+mn-lt"/>
          <a:ea typeface="+mn-ea"/>
          <a:cs typeface="+mn-cs"/>
        </a:defRPr>
      </a:lvl1pPr>
      <a:lvl2pPr marL="277240" eaLnBrk="1" hangingPunct="1">
        <a:defRPr>
          <a:latin typeface="+mn-lt"/>
          <a:ea typeface="+mn-ea"/>
          <a:cs typeface="+mn-cs"/>
        </a:defRPr>
      </a:lvl2pPr>
      <a:lvl3pPr marL="554478" eaLnBrk="1" hangingPunct="1">
        <a:defRPr>
          <a:latin typeface="+mn-lt"/>
          <a:ea typeface="+mn-ea"/>
          <a:cs typeface="+mn-cs"/>
        </a:defRPr>
      </a:lvl3pPr>
      <a:lvl4pPr marL="831718" eaLnBrk="1" hangingPunct="1">
        <a:defRPr>
          <a:latin typeface="+mn-lt"/>
          <a:ea typeface="+mn-ea"/>
          <a:cs typeface="+mn-cs"/>
        </a:defRPr>
      </a:lvl4pPr>
      <a:lvl5pPr marL="1108956" eaLnBrk="1" hangingPunct="1">
        <a:defRPr>
          <a:latin typeface="+mn-lt"/>
          <a:ea typeface="+mn-ea"/>
          <a:cs typeface="+mn-cs"/>
        </a:defRPr>
      </a:lvl5pPr>
      <a:lvl6pPr marL="1386196" eaLnBrk="1" hangingPunct="1">
        <a:defRPr>
          <a:latin typeface="+mn-lt"/>
          <a:ea typeface="+mn-ea"/>
          <a:cs typeface="+mn-cs"/>
        </a:defRPr>
      </a:lvl6pPr>
      <a:lvl7pPr marL="1663434" eaLnBrk="1" hangingPunct="1">
        <a:defRPr>
          <a:latin typeface="+mn-lt"/>
          <a:ea typeface="+mn-ea"/>
          <a:cs typeface="+mn-cs"/>
        </a:defRPr>
      </a:lvl7pPr>
      <a:lvl8pPr marL="1940674" eaLnBrk="1" hangingPunct="1">
        <a:defRPr>
          <a:latin typeface="+mn-lt"/>
          <a:ea typeface="+mn-ea"/>
          <a:cs typeface="+mn-cs"/>
        </a:defRPr>
      </a:lvl8pPr>
      <a:lvl9pPr marL="2217913" eaLnBrk="1" hangingPunct="1">
        <a:defRPr>
          <a:latin typeface="+mn-lt"/>
          <a:ea typeface="+mn-ea"/>
          <a:cs typeface="+mn-cs"/>
        </a:defRPr>
      </a:lvl9pPr>
    </p:otherStyle>
  </p:txStyles>
  <p:extLst>
    <p:ext uri="{27BBF7A9-308A-43DC-89C8-2F10F3537804}">
      <p15:sldGuideLst xmlns:p15="http://schemas.microsoft.com/office/powerpoint/2012/main">
        <p15:guide id="2" orient="horz" pos="667">
          <p15:clr>
            <a:srgbClr val="F26B43"/>
          </p15:clr>
        </p15:guide>
        <p15:guide id="7" pos="1837">
          <p15:clr>
            <a:srgbClr val="F26B43"/>
          </p15:clr>
        </p15:guide>
        <p15:guide id="8" pos="2064">
          <p15:clr>
            <a:srgbClr val="F26B43"/>
          </p15:clr>
        </p15:guide>
        <p15:guide id="9" pos="3696">
          <p15:clr>
            <a:srgbClr val="F26B43"/>
          </p15:clr>
        </p15:guide>
        <p15:guide id="10" pos="3923">
          <p15:clr>
            <a:srgbClr val="F26B43"/>
          </p15:clr>
        </p15:guide>
        <p15:guide id="12" pos="2767">
          <p15:clr>
            <a:srgbClr val="F26B43"/>
          </p15:clr>
        </p15:guide>
        <p15:guide id="13" pos="2993">
          <p15:clr>
            <a:srgbClr val="F26B43"/>
          </p15:clr>
        </p15:guide>
        <p15:guide id="14" orient="horz" pos="1053">
          <p15:clr>
            <a:srgbClr val="F26B43"/>
          </p15:clr>
        </p15:guide>
        <p15:guide id="15" orient="horz" pos="350">
          <p15:clr>
            <a:srgbClr val="F26B43"/>
          </p15:clr>
        </p15:guide>
        <p15:guide id="16" orient="horz" pos="2845">
          <p15:clr>
            <a:srgbClr val="F26B43"/>
          </p15:clr>
        </p15:guide>
        <p15:guide id="17" pos="5556">
          <p15:clr>
            <a:srgbClr val="F26B43"/>
          </p15:clr>
        </p15:guide>
        <p15:guide id="18" orient="horz" pos="3049">
          <p15:clr>
            <a:srgbClr val="F26B43"/>
          </p15:clr>
        </p15:guide>
        <p15:guide id="19" pos="20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9.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1.xml"/><Relationship Id="rId1" Type="http://schemas.openxmlformats.org/officeDocument/2006/relationships/slideLayout" Target="../slideLayouts/slideLayout6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hyperlink" Target="https://www.nationalgrideso.com/document/47391/download" TargetMode="External"/><Relationship Id="rId2" Type="http://schemas.openxmlformats.org/officeDocument/2006/relationships/image" Target="../media/image51.png"/><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31.svg"/><Relationship Id="rId13" Type="http://schemas.openxmlformats.org/officeDocument/2006/relationships/image" Target="../media/image36.pn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35.svg"/><Relationship Id="rId2" Type="http://schemas.openxmlformats.org/officeDocument/2006/relationships/notesSlide" Target="../notesSlides/notesSlide2.xml"/><Relationship Id="rId1" Type="http://schemas.openxmlformats.org/officeDocument/2006/relationships/slideLayout" Target="../slideLayouts/slideLayout49.xml"/><Relationship Id="rId6" Type="http://schemas.openxmlformats.org/officeDocument/2006/relationships/image" Target="../media/image29.sv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svg"/><Relationship Id="rId4" Type="http://schemas.openxmlformats.org/officeDocument/2006/relationships/image" Target="../media/image27.svg"/><Relationship Id="rId9" Type="http://schemas.openxmlformats.org/officeDocument/2006/relationships/image" Target="../media/image32.png"/><Relationship Id="rId14" Type="http://schemas.openxmlformats.org/officeDocument/2006/relationships/image" Target="../media/image37.svg"/></Relationships>
</file>

<file path=ppt/slides/_rels/slide5.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29.svg"/><Relationship Id="rId3" Type="http://schemas.openxmlformats.org/officeDocument/2006/relationships/image" Target="../media/image38.jpeg"/><Relationship Id="rId7" Type="http://schemas.openxmlformats.org/officeDocument/2006/relationships/image" Target="../media/image37.svg"/><Relationship Id="rId12"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49.xml"/><Relationship Id="rId6" Type="http://schemas.openxmlformats.org/officeDocument/2006/relationships/image" Target="../media/image36.png"/><Relationship Id="rId11" Type="http://schemas.openxmlformats.org/officeDocument/2006/relationships/image" Target="../media/image35.svg"/><Relationship Id="rId5" Type="http://schemas.openxmlformats.org/officeDocument/2006/relationships/image" Target="../media/image27.svg"/><Relationship Id="rId15" Type="http://schemas.openxmlformats.org/officeDocument/2006/relationships/image" Target="../media/image33.svg"/><Relationship Id="rId10" Type="http://schemas.openxmlformats.org/officeDocument/2006/relationships/image" Target="../media/image34.png"/><Relationship Id="rId4" Type="http://schemas.openxmlformats.org/officeDocument/2006/relationships/image" Target="../media/image26.png"/><Relationship Id="rId9" Type="http://schemas.openxmlformats.org/officeDocument/2006/relationships/image" Target="../media/image40.svg"/><Relationship Id="rId14" Type="http://schemas.openxmlformats.org/officeDocument/2006/relationships/image" Target="../media/image32.png"/></Relationships>
</file>

<file path=ppt/slides/_rels/slide6.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29.svg"/><Relationship Id="rId3" Type="http://schemas.openxmlformats.org/officeDocument/2006/relationships/image" Target="../media/image41.jpeg"/><Relationship Id="rId7" Type="http://schemas.openxmlformats.org/officeDocument/2006/relationships/image" Target="../media/image37.svg"/><Relationship Id="rId12"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49.xml"/><Relationship Id="rId6" Type="http://schemas.openxmlformats.org/officeDocument/2006/relationships/image" Target="../media/image36.png"/><Relationship Id="rId11" Type="http://schemas.openxmlformats.org/officeDocument/2006/relationships/image" Target="../media/image43.svg"/><Relationship Id="rId5" Type="http://schemas.openxmlformats.org/officeDocument/2006/relationships/image" Target="../media/image27.svg"/><Relationship Id="rId15" Type="http://schemas.openxmlformats.org/officeDocument/2006/relationships/image" Target="../media/image33.svg"/><Relationship Id="rId10" Type="http://schemas.openxmlformats.org/officeDocument/2006/relationships/image" Target="../media/image42.png"/><Relationship Id="rId4" Type="http://schemas.openxmlformats.org/officeDocument/2006/relationships/image" Target="../media/image26.png"/><Relationship Id="rId9" Type="http://schemas.openxmlformats.org/officeDocument/2006/relationships/image" Target="../media/image31.svg"/><Relationship Id="rId14" Type="http://schemas.openxmlformats.org/officeDocument/2006/relationships/image" Target="../media/image32.png"/></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46.svg"/><Relationship Id="rId3" Type="http://schemas.openxmlformats.org/officeDocument/2006/relationships/image" Target="../media/image44.jpeg"/><Relationship Id="rId7" Type="http://schemas.openxmlformats.org/officeDocument/2006/relationships/image" Target="../media/image37.svg"/><Relationship Id="rId12" Type="http://schemas.openxmlformats.org/officeDocument/2006/relationships/image" Target="../media/image45.png"/><Relationship Id="rId2" Type="http://schemas.openxmlformats.org/officeDocument/2006/relationships/notesSlide" Target="../notesSlides/notesSlide5.xml"/><Relationship Id="rId1" Type="http://schemas.openxmlformats.org/officeDocument/2006/relationships/slideLayout" Target="../slideLayouts/slideLayout49.xml"/><Relationship Id="rId6" Type="http://schemas.openxmlformats.org/officeDocument/2006/relationships/image" Target="../media/image36.png"/><Relationship Id="rId11" Type="http://schemas.openxmlformats.org/officeDocument/2006/relationships/image" Target="../media/image35.svg"/><Relationship Id="rId5" Type="http://schemas.openxmlformats.org/officeDocument/2006/relationships/image" Target="../media/image27.svg"/><Relationship Id="rId15" Type="http://schemas.openxmlformats.org/officeDocument/2006/relationships/image" Target="../media/image33.svg"/><Relationship Id="rId10" Type="http://schemas.openxmlformats.org/officeDocument/2006/relationships/image" Target="../media/image34.png"/><Relationship Id="rId4" Type="http://schemas.openxmlformats.org/officeDocument/2006/relationships/image" Target="../media/image26.png"/><Relationship Id="rId9" Type="http://schemas.openxmlformats.org/officeDocument/2006/relationships/image" Target="../media/image31.svg"/><Relationship Id="rId14" Type="http://schemas.openxmlformats.org/officeDocument/2006/relationships/image" Target="../media/image32.png"/></Relationships>
</file>

<file path=ppt/slides/_rels/slide8.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29.svg"/><Relationship Id="rId3" Type="http://schemas.openxmlformats.org/officeDocument/2006/relationships/image" Target="../media/image47.jpeg"/><Relationship Id="rId7" Type="http://schemas.openxmlformats.org/officeDocument/2006/relationships/image" Target="../media/image37.svg"/><Relationship Id="rId12"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49.xml"/><Relationship Id="rId6" Type="http://schemas.openxmlformats.org/officeDocument/2006/relationships/image" Target="../media/image36.png"/><Relationship Id="rId11" Type="http://schemas.openxmlformats.org/officeDocument/2006/relationships/image" Target="../media/image35.svg"/><Relationship Id="rId5" Type="http://schemas.openxmlformats.org/officeDocument/2006/relationships/image" Target="../media/image27.svg"/><Relationship Id="rId15" Type="http://schemas.openxmlformats.org/officeDocument/2006/relationships/image" Target="../media/image49.svg"/><Relationship Id="rId10" Type="http://schemas.openxmlformats.org/officeDocument/2006/relationships/image" Target="../media/image34.png"/><Relationship Id="rId4" Type="http://schemas.openxmlformats.org/officeDocument/2006/relationships/image" Target="../media/image26.png"/><Relationship Id="rId9" Type="http://schemas.openxmlformats.org/officeDocument/2006/relationships/image" Target="../media/image31.svg"/><Relationship Id="rId14" Type="http://schemas.openxmlformats.org/officeDocument/2006/relationships/image" Target="../media/image48.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1">
            <a:extLst>
              <a:ext uri="{FF2B5EF4-FFF2-40B4-BE49-F238E27FC236}">
                <a16:creationId xmlns:a16="http://schemas.microsoft.com/office/drawing/2014/main" id="{239D8572-4B80-43C0-A793-A677B76538B7}"/>
              </a:ext>
            </a:extLst>
          </p:cNvPr>
          <p:cNvSpPr txBox="1">
            <a:spLocks/>
          </p:cNvSpPr>
          <p:nvPr/>
        </p:nvSpPr>
        <p:spPr>
          <a:xfrm>
            <a:off x="323550" y="330855"/>
            <a:ext cx="8495999" cy="527136"/>
          </a:xfrm>
          <a:prstGeom prst="rect">
            <a:avLst/>
          </a:prstGeom>
        </p:spPr>
        <p:txBody>
          <a:bodyPr anchor="t"/>
          <a:lstStyle>
            <a:lvl1pPr algn="l" defTabSz="914377" rtl="0" eaLnBrk="1" latinLnBrk="0" hangingPunct="1">
              <a:lnSpc>
                <a:spcPct val="90000"/>
              </a:lnSpc>
              <a:spcBef>
                <a:spcPct val="0"/>
              </a:spcBef>
              <a:buNone/>
              <a:defRPr sz="4400" b="0" i="0" kern="120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sz="3600" b="1" dirty="0"/>
              <a:t>CMP381</a:t>
            </a:r>
          </a:p>
        </p:txBody>
      </p:sp>
      <p:sp>
        <p:nvSpPr>
          <p:cNvPr id="5" name="Text Placeholder 4">
            <a:extLst>
              <a:ext uri="{FF2B5EF4-FFF2-40B4-BE49-F238E27FC236}">
                <a16:creationId xmlns:a16="http://schemas.microsoft.com/office/drawing/2014/main" id="{4FBA6ABF-CE97-446E-AFED-BDC24A2E4D0F}"/>
              </a:ext>
            </a:extLst>
          </p:cNvPr>
          <p:cNvSpPr>
            <a:spLocks noGrp="1"/>
          </p:cNvSpPr>
          <p:nvPr>
            <p:ph type="title"/>
          </p:nvPr>
        </p:nvSpPr>
        <p:spPr>
          <a:xfrm>
            <a:off x="323549" y="891299"/>
            <a:ext cx="9033101" cy="527136"/>
          </a:xfrm>
        </p:spPr>
        <p:txBody>
          <a:bodyPr/>
          <a:lstStyle/>
          <a:p>
            <a:r>
              <a:rPr lang="en-GB" sz="2800" b="1" dirty="0">
                <a:solidFill>
                  <a:srgbClr val="0070C0"/>
                </a:solidFill>
              </a:rPr>
              <a:t>21 December 2021 – 9am to 2pm</a:t>
            </a:r>
          </a:p>
          <a:p>
            <a:r>
              <a:rPr lang="en-GB" sz="2000" b="1" dirty="0">
                <a:solidFill>
                  <a:schemeClr val="tx1"/>
                </a:solidFill>
              </a:rPr>
              <a:t>Online Meeting via Teams</a:t>
            </a:r>
          </a:p>
        </p:txBody>
      </p:sp>
    </p:spTree>
    <p:extLst>
      <p:ext uri="{BB962C8B-B14F-4D97-AF65-F5344CB8AC3E}">
        <p14:creationId xmlns:p14="http://schemas.microsoft.com/office/powerpoint/2010/main" val="41668189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17303" y="204243"/>
            <a:ext cx="11350920" cy="657605"/>
          </a:xfrm>
        </p:spPr>
        <p:txBody>
          <a:bodyPr/>
          <a:lstStyle/>
          <a:p>
            <a:r>
              <a:rPr lang="en-GB" sz="1800" b="1" dirty="0"/>
              <a:t>Timeline for CMP381 at 17 December 2021</a:t>
            </a:r>
            <a:endParaRPr lang="en-GB" altLang="en-US" sz="2400" b="1" i="1" dirty="0"/>
          </a:p>
        </p:txBody>
      </p:sp>
      <p:sp>
        <p:nvSpPr>
          <p:cNvPr id="3" name="Rectangle 2"/>
          <p:cNvSpPr/>
          <p:nvPr/>
        </p:nvSpPr>
        <p:spPr>
          <a:xfrm>
            <a:off x="217303" y="977735"/>
            <a:ext cx="11521280" cy="379656"/>
          </a:xfrm>
          <a:prstGeom prst="rect">
            <a:avLst/>
          </a:prstGeom>
        </p:spPr>
        <p:txBody>
          <a:bodyPr wrap="square" anchor="t">
            <a:spAutoFit/>
          </a:bodyPr>
          <a:lstStyle/>
          <a:p>
            <a:pPr marL="0" marR="0" lvl="0" indent="-249265" algn="just"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endParaRPr>
          </a:p>
          <a:p>
            <a:pPr marL="0" marR="0" lvl="0" indent="0" algn="l" defTabSz="554478" rtl="0" eaLnBrk="1" fontAlgn="auto" latinLnBrk="0" hangingPunct="1">
              <a:lnSpc>
                <a:spcPct val="100000"/>
              </a:lnSpc>
              <a:spcBef>
                <a:spcPts val="0"/>
              </a:spcBef>
              <a:spcAft>
                <a:spcPts val="0"/>
              </a:spcAft>
              <a:buClrTx/>
              <a:buSzTx/>
              <a:buFontTx/>
              <a:buNone/>
              <a:tabLst/>
              <a:defRPr/>
            </a:pPr>
            <a:endParaRPr kumimoji="0" lang="en-GB" altLang="en-US" sz="267" b="0" i="0" u="none" strike="noStrike" kern="1200" cap="none" spc="0" normalizeH="0" baseline="0" noProof="0" dirty="0">
              <a:ln>
                <a:noFill/>
              </a:ln>
              <a:solidFill>
                <a:srgbClr val="454545"/>
              </a:solidFill>
              <a:effectLst/>
              <a:uLnTx/>
              <a:uFillTx/>
              <a:latin typeface="Arial" panose="020B0604020202020204"/>
              <a:ea typeface="+mn-ea"/>
              <a:cs typeface="+mn-cs"/>
            </a:endParaRPr>
          </a:p>
        </p:txBody>
      </p:sp>
      <p:graphicFrame>
        <p:nvGraphicFramePr>
          <p:cNvPr id="5" name="Table 4">
            <a:extLst>
              <a:ext uri="{FF2B5EF4-FFF2-40B4-BE49-F238E27FC236}">
                <a16:creationId xmlns:a16="http://schemas.microsoft.com/office/drawing/2014/main" id="{4CB550AD-0E0B-467B-A24E-263CEEC8C372}"/>
              </a:ext>
            </a:extLst>
          </p:cNvPr>
          <p:cNvGraphicFramePr>
            <a:graphicFrameLocks noGrp="1"/>
          </p:cNvGraphicFramePr>
          <p:nvPr>
            <p:extLst>
              <p:ext uri="{D42A27DB-BD31-4B8C-83A1-F6EECF244321}">
                <p14:modId xmlns:p14="http://schemas.microsoft.com/office/powerpoint/2010/main" val="2000206357"/>
              </p:ext>
            </p:extLst>
          </p:nvPr>
        </p:nvGraphicFramePr>
        <p:xfrm>
          <a:off x="312681" y="556060"/>
          <a:ext cx="11677261" cy="5238818"/>
        </p:xfrm>
        <a:graphic>
          <a:graphicData uri="http://schemas.openxmlformats.org/drawingml/2006/table">
            <a:tbl>
              <a:tblPr firstRow="1" bandRow="1">
                <a:tableStyleId>{5C22544A-7EE6-4342-B048-85BDC9FD1C3A}</a:tableStyleId>
              </a:tblPr>
              <a:tblGrid>
                <a:gridCol w="3421887">
                  <a:extLst>
                    <a:ext uri="{9D8B030D-6E8A-4147-A177-3AD203B41FA5}">
                      <a16:colId xmlns:a16="http://schemas.microsoft.com/office/drawing/2014/main" val="2043401118"/>
                    </a:ext>
                  </a:extLst>
                </a:gridCol>
                <a:gridCol w="2550063">
                  <a:extLst>
                    <a:ext uri="{9D8B030D-6E8A-4147-A177-3AD203B41FA5}">
                      <a16:colId xmlns:a16="http://schemas.microsoft.com/office/drawing/2014/main" val="149780315"/>
                    </a:ext>
                  </a:extLst>
                </a:gridCol>
                <a:gridCol w="3629732">
                  <a:extLst>
                    <a:ext uri="{9D8B030D-6E8A-4147-A177-3AD203B41FA5}">
                      <a16:colId xmlns:a16="http://schemas.microsoft.com/office/drawing/2014/main" val="4112587689"/>
                    </a:ext>
                  </a:extLst>
                </a:gridCol>
                <a:gridCol w="2075579">
                  <a:extLst>
                    <a:ext uri="{9D8B030D-6E8A-4147-A177-3AD203B41FA5}">
                      <a16:colId xmlns:a16="http://schemas.microsoft.com/office/drawing/2014/main" val="722626711"/>
                    </a:ext>
                  </a:extLst>
                </a:gridCol>
              </a:tblGrid>
              <a:tr h="258915">
                <a:tc>
                  <a:txBody>
                    <a:bodyPr/>
                    <a:lstStyle/>
                    <a:p>
                      <a:r>
                        <a:rPr lang="en-GB" sz="1200" dirty="0">
                          <a:latin typeface="Arial" panose="020B0604020202020204" pitchFamily="34" charset="0"/>
                          <a:cs typeface="Arial" panose="020B0604020202020204" pitchFamily="34" charset="0"/>
                        </a:rPr>
                        <a:t>Milestone</a:t>
                      </a:r>
                    </a:p>
                  </a:txBody>
                  <a:tcPr/>
                </a:tc>
                <a:tc>
                  <a:txBody>
                    <a:bodyPr/>
                    <a:lstStyle/>
                    <a:p>
                      <a:r>
                        <a:rPr lang="en-GB" sz="1200" dirty="0">
                          <a:latin typeface="Arial" panose="020B0604020202020204" pitchFamily="34" charset="0"/>
                          <a:cs typeface="Arial" panose="020B0604020202020204" pitchFamily="34" charset="0"/>
                        </a:rPr>
                        <a:t>Date</a:t>
                      </a:r>
                    </a:p>
                  </a:txBody>
                  <a:tcPr/>
                </a:tc>
                <a:tc>
                  <a:txBody>
                    <a:bodyPr/>
                    <a:lstStyle/>
                    <a:p>
                      <a:r>
                        <a:rPr lang="en-GB" sz="1200" dirty="0">
                          <a:latin typeface="Arial" panose="020B0604020202020204" pitchFamily="34" charset="0"/>
                          <a:cs typeface="Arial" panose="020B0604020202020204" pitchFamily="34" charset="0"/>
                        </a:rPr>
                        <a:t>Milestone</a:t>
                      </a:r>
                    </a:p>
                  </a:txBody>
                  <a:tcPr/>
                </a:tc>
                <a:tc>
                  <a:txBody>
                    <a:bodyPr/>
                    <a:lstStyle/>
                    <a:p>
                      <a:r>
                        <a:rPr lang="en-GB" sz="1200" dirty="0">
                          <a:latin typeface="Arial" panose="020B0604020202020204" pitchFamily="34" charset="0"/>
                          <a:cs typeface="Arial" panose="020B0604020202020204" pitchFamily="34" charset="0"/>
                        </a:rPr>
                        <a:t>Date</a:t>
                      </a:r>
                    </a:p>
                  </a:txBody>
                  <a:tcPr/>
                </a:tc>
                <a:extLst>
                  <a:ext uri="{0D108BD9-81ED-4DB2-BD59-A6C34878D82A}">
                    <a16:rowId xmlns:a16="http://schemas.microsoft.com/office/drawing/2014/main" val="383155423"/>
                  </a:ext>
                </a:extLst>
              </a:tr>
              <a:tr h="591835">
                <a:tc>
                  <a:txBody>
                    <a:bodyPr/>
                    <a:lstStyle/>
                    <a:p>
                      <a:r>
                        <a:rPr lang="en-GB" sz="1200" dirty="0">
                          <a:latin typeface="Arial" panose="020B0604020202020204" pitchFamily="34" charset="0"/>
                          <a:cs typeface="Arial" panose="020B0604020202020204" pitchFamily="34" charset="0"/>
                        </a:rPr>
                        <a:t>Modification presented to Panel</a:t>
                      </a:r>
                    </a:p>
                  </a:txBody>
                  <a:tcPr/>
                </a:tc>
                <a:tc>
                  <a:txBody>
                    <a:bodyPr/>
                    <a:lstStyle/>
                    <a:p>
                      <a:r>
                        <a:rPr lang="en-GB" sz="1200" dirty="0">
                          <a:latin typeface="Arial" panose="020B0604020202020204" pitchFamily="34" charset="0"/>
                          <a:cs typeface="Arial" panose="020B0604020202020204" pitchFamily="34" charset="0"/>
                        </a:rPr>
                        <a:t>17 December 2021</a:t>
                      </a:r>
                    </a:p>
                  </a:txBody>
                  <a:tcPr/>
                </a:tc>
                <a:tc>
                  <a:txBody>
                    <a:bodyPr/>
                    <a:lstStyle/>
                    <a:p>
                      <a:r>
                        <a:rPr lang="en-GB" sz="1200" dirty="0">
                          <a:latin typeface="Arial" panose="020B0604020202020204" pitchFamily="34" charset="0"/>
                          <a:cs typeface="Arial" panose="020B0604020202020204" pitchFamily="34" charset="0"/>
                        </a:rPr>
                        <a:t>Code Administrator Consultation (2 working days)</a:t>
                      </a:r>
                    </a:p>
                  </a:txBody>
                  <a:tcPr/>
                </a:tc>
                <a:tc>
                  <a:txBody>
                    <a:bodyPr/>
                    <a:lstStyle/>
                    <a:p>
                      <a:r>
                        <a:rPr lang="en-GB" sz="1200" dirty="0">
                          <a:latin typeface="Arial" panose="020B0604020202020204" pitchFamily="34" charset="0"/>
                          <a:cs typeface="Arial" panose="020B0604020202020204" pitchFamily="34" charset="0"/>
                        </a:rPr>
                        <a:t>6 January 2022 (5pm) to 10 January 2022 (5pm)</a:t>
                      </a:r>
                      <a:endParaRPr lang="en-GB" sz="1200" i="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4083485395"/>
                  </a:ext>
                </a:extLst>
              </a:tr>
              <a:tr h="440155">
                <a:tc>
                  <a:txBody>
                    <a:bodyPr/>
                    <a:lstStyle/>
                    <a:p>
                      <a:r>
                        <a:rPr lang="en-GB" sz="1200" dirty="0">
                          <a:latin typeface="Arial" panose="020B0604020202020204" pitchFamily="34" charset="0"/>
                          <a:cs typeface="Arial" panose="020B0604020202020204" pitchFamily="34" charset="0"/>
                        </a:rPr>
                        <a:t>Workgroup Nominations</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GB" sz="1200" dirty="0">
                          <a:latin typeface="Arial" panose="020B0604020202020204" pitchFamily="34" charset="0"/>
                          <a:cs typeface="Arial" panose="020B0604020202020204" pitchFamily="34" charset="0"/>
                        </a:rPr>
                        <a:t>17 December 2021 to 5pm on 20 December 2021</a:t>
                      </a:r>
                    </a:p>
                  </a:txBody>
                  <a:tcPr/>
                </a:tc>
                <a:tc>
                  <a:txBody>
                    <a:bodyPr/>
                    <a:lstStyle/>
                    <a:p>
                      <a:r>
                        <a:rPr lang="en-GB" sz="1200" dirty="0">
                          <a:latin typeface="Arial" panose="020B0604020202020204" pitchFamily="34" charset="0"/>
                          <a:cs typeface="Arial" panose="020B0604020202020204" pitchFamily="34" charset="0"/>
                        </a:rPr>
                        <a:t>Draft Final Modification Report (DFMR) issued to Panel </a:t>
                      </a:r>
                    </a:p>
                  </a:txBody>
                  <a:tcPr/>
                </a:tc>
                <a:tc>
                  <a:txBody>
                    <a:bodyPr/>
                    <a:lstStyle/>
                    <a:p>
                      <a:r>
                        <a:rPr lang="en-GB" sz="1200" dirty="0">
                          <a:latin typeface="Arial" panose="020B0604020202020204" pitchFamily="34" charset="0"/>
                          <a:cs typeface="Arial" panose="020B0604020202020204" pitchFamily="34" charset="0"/>
                        </a:rPr>
                        <a:t>11 January 2022 (5pm)</a:t>
                      </a:r>
                    </a:p>
                  </a:txBody>
                  <a:tcPr/>
                </a:tc>
                <a:extLst>
                  <a:ext uri="{0D108BD9-81ED-4DB2-BD59-A6C34878D82A}">
                    <a16:rowId xmlns:a16="http://schemas.microsoft.com/office/drawing/2014/main" val="2298102013"/>
                  </a:ext>
                </a:extLst>
              </a:tr>
              <a:tr h="443921">
                <a:tc>
                  <a:txBody>
                    <a:bodyPr/>
                    <a:lstStyle/>
                    <a:p>
                      <a:r>
                        <a:rPr lang="en-GB" sz="1200" dirty="0">
                          <a:latin typeface="Arial" panose="020B0604020202020204" pitchFamily="34" charset="0"/>
                          <a:cs typeface="Arial" panose="020B0604020202020204" pitchFamily="34" charset="0"/>
                        </a:rPr>
                        <a:t>Ofgem grant Urgency</a:t>
                      </a:r>
                    </a:p>
                    <a:p>
                      <a:endParaRPr lang="en-GB" sz="1200" dirty="0">
                        <a:latin typeface="Arial" panose="020B0604020202020204" pitchFamily="34" charset="0"/>
                        <a:cs typeface="Arial" panose="020B0604020202020204" pitchFamily="34" charset="0"/>
                      </a:endParaRP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GB" sz="1200" dirty="0">
                          <a:latin typeface="Arial" panose="020B0604020202020204" pitchFamily="34" charset="0"/>
                          <a:cs typeface="Arial" panose="020B0604020202020204" pitchFamily="34" charset="0"/>
                        </a:rPr>
                        <a:t>20 December 2021</a:t>
                      </a:r>
                    </a:p>
                    <a:p>
                      <a:pPr marL="0" marR="0" lvl="0" indent="0" algn="l" defTabSz="914377" rtl="0" eaLnBrk="1" fontAlgn="auto" latinLnBrk="0" hangingPunct="1">
                        <a:lnSpc>
                          <a:spcPct val="100000"/>
                        </a:lnSpc>
                        <a:spcBef>
                          <a:spcPts val="0"/>
                        </a:spcBef>
                        <a:spcAft>
                          <a:spcPts val="0"/>
                        </a:spcAft>
                        <a:buClrTx/>
                        <a:buSzTx/>
                        <a:buFontTx/>
                        <a:buNone/>
                        <a:tabLst/>
                        <a:defRPr/>
                      </a:pPr>
                      <a:r>
                        <a:rPr lang="en-GB" sz="1200" dirty="0">
                          <a:latin typeface="Arial" panose="020B0604020202020204" pitchFamily="34" charset="0"/>
                          <a:cs typeface="Arial" panose="020B0604020202020204" pitchFamily="34" charset="0"/>
                        </a:rPr>
                        <a:t>(5pm)</a:t>
                      </a:r>
                    </a:p>
                  </a:txBody>
                  <a:tcPr/>
                </a:tc>
                <a:tc>
                  <a:txBody>
                    <a:bodyPr/>
                    <a:lstStyle/>
                    <a:p>
                      <a:r>
                        <a:rPr lang="en-GB" sz="1200" dirty="0">
                          <a:latin typeface="Arial" panose="020B0604020202020204" pitchFamily="34" charset="0"/>
                          <a:cs typeface="Arial" panose="020B0604020202020204" pitchFamily="34" charset="0"/>
                        </a:rPr>
                        <a:t>Panel</a:t>
                      </a:r>
                      <a:r>
                        <a:rPr lang="en-GB" sz="1200" baseline="0" dirty="0">
                          <a:latin typeface="Arial" panose="020B0604020202020204" pitchFamily="34" charset="0"/>
                          <a:cs typeface="Arial" panose="020B0604020202020204" pitchFamily="34" charset="0"/>
                        </a:rPr>
                        <a:t> undertake DFMR recommendation vote </a:t>
                      </a:r>
                      <a:endParaRPr lang="en-US" sz="1200" dirty="0">
                        <a:latin typeface="Arial" panose="020B0604020202020204" pitchFamily="34" charset="0"/>
                        <a:cs typeface="Arial" panose="020B0604020202020204" pitchFamily="34" charset="0"/>
                      </a:endParaRPr>
                    </a:p>
                  </a:txBody>
                  <a:tcPr/>
                </a:tc>
                <a:tc>
                  <a:txBody>
                    <a:bodyPr/>
                    <a:lstStyle/>
                    <a:p>
                      <a:r>
                        <a:rPr lang="en-GB" sz="1200" dirty="0">
                          <a:latin typeface="Arial" panose="020B0604020202020204" pitchFamily="34" charset="0"/>
                          <a:cs typeface="Arial" panose="020B0604020202020204" pitchFamily="34" charset="0"/>
                        </a:rPr>
                        <a:t>12 January 2022 (11am)</a:t>
                      </a:r>
                    </a:p>
                  </a:txBody>
                  <a:tcPr/>
                </a:tc>
                <a:extLst>
                  <a:ext uri="{0D108BD9-81ED-4DB2-BD59-A6C34878D82A}">
                    <a16:rowId xmlns:a16="http://schemas.microsoft.com/office/drawing/2014/main" val="3713368864"/>
                  </a:ext>
                </a:extLst>
              </a:tr>
              <a:tr h="622342">
                <a:tc>
                  <a:txBody>
                    <a:bodyPr/>
                    <a:lstStyle/>
                    <a:p>
                      <a:r>
                        <a:rPr lang="en-GB" sz="1200" dirty="0">
                          <a:latin typeface="Arial" panose="020B0604020202020204" pitchFamily="34" charset="0"/>
                          <a:cs typeface="Arial" panose="020B0604020202020204" pitchFamily="34" charset="0"/>
                        </a:rPr>
                        <a:t>Workgroup 1  - Understanding process, responsibilities and change, identify possible alternatives, agree Workgroup Consultation questions </a:t>
                      </a:r>
                    </a:p>
                  </a:txBody>
                  <a:tcPr/>
                </a:tc>
                <a:tc>
                  <a:txBody>
                    <a:bodyPr/>
                    <a:lstStyle/>
                    <a:p>
                      <a:r>
                        <a:rPr lang="en-GB" sz="1200" dirty="0">
                          <a:latin typeface="Arial" panose="020B0604020202020204" pitchFamily="34" charset="0"/>
                          <a:cs typeface="Arial" panose="020B0604020202020204" pitchFamily="34" charset="0"/>
                        </a:rPr>
                        <a:t>21 December 2021 (9am to 2pm)</a:t>
                      </a:r>
                    </a:p>
                  </a:txBody>
                  <a:tcPr/>
                </a:tc>
                <a:tc>
                  <a:txBody>
                    <a:bodyPr/>
                    <a:lstStyle/>
                    <a:p>
                      <a:r>
                        <a:rPr lang="en-US" sz="1200" dirty="0">
                          <a:latin typeface="Arial" panose="020B0604020202020204" pitchFamily="34" charset="0"/>
                          <a:cs typeface="Arial" panose="020B0604020202020204" pitchFamily="34" charset="0"/>
                        </a:rPr>
                        <a:t>Final Modification Report issued to Panel to check votes recorded correctly</a:t>
                      </a:r>
                      <a:endParaRPr lang="en-GB" sz="1200" i="1" dirty="0">
                        <a:latin typeface="Arial" panose="020B0604020202020204" pitchFamily="34" charset="0"/>
                        <a:cs typeface="Arial" panose="020B0604020202020204" pitchFamily="34" charset="0"/>
                      </a:endParaRP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GB" sz="1200" dirty="0">
                          <a:latin typeface="Arial" panose="020B0604020202020204" pitchFamily="34" charset="0"/>
                          <a:cs typeface="Arial" panose="020B0604020202020204" pitchFamily="34" charset="0"/>
                        </a:rPr>
                        <a:t>12 January 2022 (1pm)</a:t>
                      </a:r>
                    </a:p>
                    <a:p>
                      <a:endParaRPr lang="en-GB"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726378177"/>
                  </a:ext>
                </a:extLst>
              </a:tr>
              <a:tr h="593037">
                <a:tc>
                  <a:txBody>
                    <a:bodyPr/>
                    <a:lstStyle/>
                    <a:p>
                      <a:r>
                        <a:rPr lang="en-GB" sz="1200" dirty="0">
                          <a:latin typeface="Arial" panose="020B0604020202020204" pitchFamily="34" charset="0"/>
                          <a:cs typeface="Arial" panose="020B0604020202020204" pitchFamily="34" charset="0"/>
                        </a:rPr>
                        <a:t>Workgroup Consultation (3 working days)</a:t>
                      </a:r>
                    </a:p>
                  </a:txBody>
                  <a:tcPr/>
                </a:tc>
                <a:tc>
                  <a:txBody>
                    <a:bodyPr/>
                    <a:lstStyle/>
                    <a:p>
                      <a:r>
                        <a:rPr lang="en-GB" sz="1200" dirty="0">
                          <a:latin typeface="Arial" panose="020B0604020202020204" pitchFamily="34" charset="0"/>
                          <a:cs typeface="Arial" panose="020B0604020202020204" pitchFamily="34" charset="0"/>
                        </a:rPr>
                        <a:t>23 December 2021 (9am) to 29 December 2021 (5pm)</a:t>
                      </a:r>
                    </a:p>
                  </a:txBody>
                  <a:tcPr/>
                </a:tc>
                <a:tc>
                  <a:txBody>
                    <a:bodyPr/>
                    <a:lstStyle/>
                    <a:p>
                      <a:r>
                        <a:rPr lang="en-US" sz="1200" dirty="0">
                          <a:latin typeface="Arial" panose="020B0604020202020204" pitchFamily="34" charset="0"/>
                          <a:cs typeface="Arial" panose="020B0604020202020204" pitchFamily="34" charset="0"/>
                        </a:rPr>
                        <a:t>Final Modification Report issued to Ofgem</a:t>
                      </a:r>
                    </a:p>
                  </a:txBody>
                  <a:tcPr/>
                </a:tc>
                <a:tc>
                  <a:txBody>
                    <a:bodyPr/>
                    <a:lstStyle/>
                    <a:p>
                      <a:r>
                        <a:rPr lang="en-GB" sz="1200" dirty="0">
                          <a:latin typeface="Arial" panose="020B0604020202020204" pitchFamily="34" charset="0"/>
                          <a:cs typeface="Arial" panose="020B0604020202020204" pitchFamily="34" charset="0"/>
                        </a:rPr>
                        <a:t>12 January 2022 (3pm)</a:t>
                      </a:r>
                    </a:p>
                  </a:txBody>
                  <a:tcPr/>
                </a:tc>
                <a:extLst>
                  <a:ext uri="{0D108BD9-81ED-4DB2-BD59-A6C34878D82A}">
                    <a16:rowId xmlns:a16="http://schemas.microsoft.com/office/drawing/2014/main" val="2461474842"/>
                  </a:ext>
                </a:extLst>
              </a:tr>
              <a:tr h="621395">
                <a:tc>
                  <a:txBody>
                    <a:bodyPr/>
                    <a:lstStyle/>
                    <a:p>
                      <a:r>
                        <a:rPr lang="en-GB" sz="1200" dirty="0">
                          <a:latin typeface="Arial" panose="020B0604020202020204" pitchFamily="34" charset="0"/>
                          <a:cs typeface="Arial" panose="020B0604020202020204" pitchFamily="34" charset="0"/>
                        </a:rPr>
                        <a:t>Workgroup 2 </a:t>
                      </a:r>
                      <a:r>
                        <a:rPr lang="en-GB" sz="1200" strike="noStrike" baseline="0" dirty="0">
                          <a:latin typeface="Arial" panose="020B0604020202020204" pitchFamily="34" charset="0"/>
                          <a:cs typeface="Arial" panose="020B0604020202020204" pitchFamily="34" charset="0"/>
                        </a:rPr>
                        <a:t>- Assess Workgroup Consultation Responses and </a:t>
                      </a:r>
                      <a:r>
                        <a:rPr lang="en-GB" sz="1200" dirty="0">
                          <a:latin typeface="Arial" panose="020B0604020202020204" pitchFamily="34" charset="0"/>
                          <a:cs typeface="Arial" panose="020B0604020202020204" pitchFamily="34" charset="0"/>
                        </a:rPr>
                        <a:t>Workgroup Vote</a:t>
                      </a:r>
                    </a:p>
                  </a:txBody>
                  <a:tcPr/>
                </a:tc>
                <a:tc>
                  <a:txBody>
                    <a:bodyPr/>
                    <a:lstStyle/>
                    <a:p>
                      <a:r>
                        <a:rPr lang="en-GB" sz="1200" dirty="0">
                          <a:latin typeface="Arial" panose="020B0604020202020204" pitchFamily="34" charset="0"/>
                          <a:cs typeface="Arial" panose="020B0604020202020204" pitchFamily="34" charset="0"/>
                        </a:rPr>
                        <a:t>31 December 2021 (9am to 2pm)</a:t>
                      </a: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200" dirty="0">
                          <a:latin typeface="Arial" panose="020B0604020202020204" pitchFamily="34" charset="0"/>
                          <a:cs typeface="Arial" panose="020B0604020202020204" pitchFamily="34" charset="0"/>
                        </a:rPr>
                        <a:t>Ofgem decision </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4 January 2022 (5pm)</a:t>
                      </a:r>
                    </a:p>
                  </a:txBody>
                  <a:tcPr/>
                </a:tc>
                <a:extLst>
                  <a:ext uri="{0D108BD9-81ED-4DB2-BD59-A6C34878D82A}">
                    <a16:rowId xmlns:a16="http://schemas.microsoft.com/office/drawing/2014/main" val="1338958629"/>
                  </a:ext>
                </a:extLst>
              </a:tr>
              <a:tr h="760931">
                <a:tc>
                  <a:txBody>
                    <a:bodyPr/>
                    <a:lstStyle/>
                    <a:p>
                      <a:r>
                        <a:rPr lang="en-US" sz="1200" dirty="0">
                          <a:latin typeface="Arial" panose="020B0604020202020204" pitchFamily="34" charset="0"/>
                          <a:cs typeface="Arial" panose="020B0604020202020204" pitchFamily="34" charset="0"/>
                        </a:rPr>
                        <a:t>Workgroup report issued to Panel </a:t>
                      </a:r>
                      <a:endParaRPr lang="en-GB" sz="1200" dirty="0">
                        <a:latin typeface="Arial" panose="020B0604020202020204" pitchFamily="34" charset="0"/>
                        <a:cs typeface="Arial" panose="020B0604020202020204" pitchFamily="34" charset="0"/>
                      </a:endParaRP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 January 2022</a:t>
                      </a:r>
                    </a:p>
                  </a:txBody>
                  <a:tcPr/>
                </a:tc>
                <a:tc>
                  <a:txBody>
                    <a:bodyPr/>
                    <a:lstStyle/>
                    <a:p>
                      <a:r>
                        <a:rPr lang="en-GB" sz="1200" dirty="0">
                          <a:latin typeface="Arial" panose="020B0604020202020204" pitchFamily="34" charset="0"/>
                          <a:cs typeface="Arial" panose="020B0604020202020204" pitchFamily="34" charset="0"/>
                        </a:rPr>
                        <a:t>Implementation Date </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7 January 2022</a:t>
                      </a:r>
                    </a:p>
                  </a:txBody>
                  <a:tcPr/>
                </a:tc>
                <a:extLst>
                  <a:ext uri="{0D108BD9-81ED-4DB2-BD59-A6C34878D82A}">
                    <a16:rowId xmlns:a16="http://schemas.microsoft.com/office/drawing/2014/main" val="3799481148"/>
                  </a:ext>
                </a:extLst>
              </a:tr>
              <a:tr h="659940">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200" dirty="0">
                          <a:latin typeface="Arial" panose="020B0604020202020204" pitchFamily="34" charset="0"/>
                          <a:cs typeface="Arial" panose="020B0604020202020204" pitchFamily="34" charset="0"/>
                        </a:rPr>
                        <a:t>Panel</a:t>
                      </a:r>
                      <a:r>
                        <a:rPr lang="en-GB" sz="1200" baseline="0" dirty="0">
                          <a:latin typeface="Arial" panose="020B0604020202020204" pitchFamily="34" charset="0"/>
                          <a:cs typeface="Arial" panose="020B0604020202020204" pitchFamily="34" charset="0"/>
                        </a:rPr>
                        <a:t> sign off that Workgroup Report has met its Terms of Reference</a:t>
                      </a:r>
                      <a:endParaRPr lang="en-GB" sz="1200" dirty="0">
                        <a:latin typeface="Arial" panose="020B0604020202020204" pitchFamily="34" charset="0"/>
                        <a:cs typeface="Arial" panose="020B0604020202020204" pitchFamily="34" charset="0"/>
                      </a:endParaRP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 January 2022 (12pm)</a:t>
                      </a:r>
                    </a:p>
                  </a:txBody>
                  <a:tcPr/>
                </a:tc>
                <a:tc>
                  <a:txBody>
                    <a:bodyPr/>
                    <a:lstStyle/>
                    <a:p>
                      <a:endParaRPr lang="en-GB" sz="1200" dirty="0"/>
                    </a:p>
                  </a:txBody>
                  <a:tcPr/>
                </a:tc>
                <a:tc>
                  <a:txBody>
                    <a:bodyPr/>
                    <a:lstStyle/>
                    <a:p>
                      <a:endParaRPr lang="en-GB" sz="1200" dirty="0"/>
                    </a:p>
                  </a:txBody>
                  <a:tcPr/>
                </a:tc>
                <a:extLst>
                  <a:ext uri="{0D108BD9-81ED-4DB2-BD59-A6C34878D82A}">
                    <a16:rowId xmlns:a16="http://schemas.microsoft.com/office/drawing/2014/main" val="4293277181"/>
                  </a:ext>
                </a:extLst>
              </a:tr>
            </a:tbl>
          </a:graphicData>
        </a:graphic>
      </p:graphicFrame>
    </p:spTree>
    <p:extLst>
      <p:ext uri="{BB962C8B-B14F-4D97-AF65-F5344CB8AC3E}">
        <p14:creationId xmlns:p14="http://schemas.microsoft.com/office/powerpoint/2010/main" val="39570834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9BE2949-70F1-4A3B-B3AF-B6A47E266139}"/>
              </a:ext>
            </a:extLst>
          </p:cNvPr>
          <p:cNvSpPr>
            <a:spLocks noGrp="1"/>
          </p:cNvSpPr>
          <p:nvPr>
            <p:ph type="body" sz="quarter" idx="11"/>
          </p:nvPr>
        </p:nvSpPr>
        <p:spPr/>
        <p:txBody>
          <a:bodyPr/>
          <a:lstStyle/>
          <a:p>
            <a:r>
              <a:rPr lang="en-GB" b="1" dirty="0"/>
              <a:t>Workgroup Responsibilities</a:t>
            </a:r>
          </a:p>
        </p:txBody>
      </p:sp>
      <p:sp>
        <p:nvSpPr>
          <p:cNvPr id="4" name="Text Placeholder 1">
            <a:extLst>
              <a:ext uri="{FF2B5EF4-FFF2-40B4-BE49-F238E27FC236}">
                <a16:creationId xmlns:a16="http://schemas.microsoft.com/office/drawing/2014/main" id="{9B005218-02F1-4150-92E7-9D14FA6F26E6}"/>
              </a:ext>
            </a:extLst>
          </p:cNvPr>
          <p:cNvSpPr txBox="1">
            <a:spLocks/>
          </p:cNvSpPr>
          <p:nvPr/>
        </p:nvSpPr>
        <p:spPr>
          <a:xfrm>
            <a:off x="1697037" y="3289300"/>
            <a:ext cx="7079317" cy="1677988"/>
          </a:xfrm>
          <a:prstGeom prst="rect">
            <a:avLst/>
          </a:prstGeom>
        </p:spPr>
        <p:txBody>
          <a:bodyPr/>
          <a:lstStyle>
            <a:lvl1pPr marL="0" indent="0" algn="l" defTabSz="914377" rtl="0" eaLnBrk="1" latinLnBrk="0" hangingPunct="1">
              <a:lnSpc>
                <a:spcPct val="90000"/>
              </a:lnSpc>
              <a:spcBef>
                <a:spcPts val="1000"/>
              </a:spcBef>
              <a:buFont typeface="Arial" panose="020B0604020202020204" pitchFamily="34" charset="0"/>
              <a:buNone/>
              <a:defRPr sz="1600" b="0" i="0" kern="1200">
                <a:solidFill>
                  <a:srgbClr val="FFBF22"/>
                </a:solidFill>
                <a:latin typeface="Helvetica Neue LT Std 45 Light" panose="020B0403020202020204" pitchFamily="34"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800" b="0" i="0" kern="1200">
                <a:solidFill>
                  <a:srgbClr val="E8BC28"/>
                </a:solidFill>
                <a:latin typeface="Helvetica Neue LT Std 45 Light" panose="020B0403020202020204" pitchFamily="34" charset="0"/>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600" b="0" i="0" kern="1200">
                <a:solidFill>
                  <a:srgbClr val="E8BC28"/>
                </a:solidFill>
                <a:latin typeface="Helvetica Neue LT Std 45 Light" panose="020B0403020202020204" pitchFamily="34" charset="0"/>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b="0" i="0" kern="1200">
                <a:solidFill>
                  <a:srgbClr val="E8BC28"/>
                </a:solidFill>
                <a:latin typeface="Helvetica Neue LT Std 45 Light" panose="020B0403020202020204" pitchFamily="34" charset="0"/>
                <a:ea typeface="+mn-ea"/>
                <a:cs typeface="+mn-cs"/>
              </a:defRPr>
            </a:lvl4pPr>
            <a:lvl5pPr marL="1828755" indent="0" algn="l" defTabSz="914377" rtl="0" eaLnBrk="1" latinLnBrk="0" hangingPunct="1">
              <a:lnSpc>
                <a:spcPct val="90000"/>
              </a:lnSpc>
              <a:spcBef>
                <a:spcPts val="500"/>
              </a:spcBef>
              <a:buFont typeface="Arial" panose="020B0604020202020204" pitchFamily="34" charset="0"/>
              <a:buNone/>
              <a:defRPr sz="1400" b="0" i="0" kern="1200">
                <a:solidFill>
                  <a:srgbClr val="E8BC28"/>
                </a:solidFill>
                <a:latin typeface="Helvetica Neue LT Std 45 Light" panose="020B04030202020202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dirty="0">
                <a:solidFill>
                  <a:srgbClr val="0079C1"/>
                </a:solidFill>
                <a:latin typeface="Arial" panose="020B0604020202020204" pitchFamily="34" charset="0"/>
                <a:cs typeface="Arial" panose="020B0604020202020204" pitchFamily="34" charset="0"/>
              </a:rPr>
              <a:t>Paul Mullen – National Grid ESO Code Administrator</a:t>
            </a:r>
          </a:p>
        </p:txBody>
      </p:sp>
    </p:spTree>
    <p:extLst>
      <p:ext uri="{BB962C8B-B14F-4D97-AF65-F5344CB8AC3E}">
        <p14:creationId xmlns:p14="http://schemas.microsoft.com/office/powerpoint/2010/main" val="28472872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17303" y="204243"/>
            <a:ext cx="11350920" cy="657605"/>
          </a:xfrm>
        </p:spPr>
        <p:txBody>
          <a:bodyPr/>
          <a:lstStyle/>
          <a:p>
            <a:r>
              <a:rPr lang="en-GB" sz="2400" b="1" dirty="0"/>
              <a:t>Expectations of a Workgroup Member</a:t>
            </a:r>
            <a:endParaRPr lang="en-GB" altLang="en-US" sz="2400" b="1" dirty="0"/>
          </a:p>
        </p:txBody>
      </p:sp>
      <p:sp>
        <p:nvSpPr>
          <p:cNvPr id="3" name="Rectangle 2"/>
          <p:cNvSpPr/>
          <p:nvPr/>
        </p:nvSpPr>
        <p:spPr>
          <a:xfrm>
            <a:off x="217303" y="977735"/>
            <a:ext cx="11521280" cy="379656"/>
          </a:xfrm>
          <a:prstGeom prst="rect">
            <a:avLst/>
          </a:prstGeom>
        </p:spPr>
        <p:txBody>
          <a:bodyPr wrap="square" anchor="t">
            <a:spAutoFit/>
          </a:bodyPr>
          <a:lstStyle/>
          <a:p>
            <a:pPr marL="0" marR="0" lvl="0" indent="-249265" algn="just"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endParaRPr>
          </a:p>
          <a:p>
            <a:pPr marL="0" marR="0" lvl="0" indent="0" algn="l" defTabSz="554478" rtl="0" eaLnBrk="1" fontAlgn="auto" latinLnBrk="0" hangingPunct="1">
              <a:lnSpc>
                <a:spcPct val="100000"/>
              </a:lnSpc>
              <a:spcBef>
                <a:spcPts val="0"/>
              </a:spcBef>
              <a:spcAft>
                <a:spcPts val="0"/>
              </a:spcAft>
              <a:buClrTx/>
              <a:buSzTx/>
              <a:buFontTx/>
              <a:buNone/>
              <a:tabLst/>
              <a:defRPr/>
            </a:pPr>
            <a:endParaRPr kumimoji="0" lang="en-GB" altLang="en-US" sz="267" b="0" i="0" u="none" strike="noStrike" kern="1200" cap="none" spc="0" normalizeH="0" baseline="0" noProof="0" dirty="0">
              <a:ln>
                <a:noFill/>
              </a:ln>
              <a:solidFill>
                <a:srgbClr val="454545"/>
              </a:solidFill>
              <a:effectLst/>
              <a:uLnTx/>
              <a:uFillTx/>
              <a:latin typeface="Arial" panose="020B0604020202020204"/>
              <a:ea typeface="+mn-ea"/>
              <a:cs typeface="+mn-cs"/>
            </a:endParaRPr>
          </a:p>
        </p:txBody>
      </p:sp>
      <p:sp>
        <p:nvSpPr>
          <p:cNvPr id="9" name="Rectangle: Rounded Corners 4">
            <a:extLst>
              <a:ext uri="{FF2B5EF4-FFF2-40B4-BE49-F238E27FC236}">
                <a16:creationId xmlns:a16="http://schemas.microsoft.com/office/drawing/2014/main" id="{002CA36E-E9C0-4E6F-88AD-9E90DCA7D22B}"/>
              </a:ext>
            </a:extLst>
          </p:cNvPr>
          <p:cNvSpPr txBox="1"/>
          <p:nvPr/>
        </p:nvSpPr>
        <p:spPr>
          <a:xfrm>
            <a:off x="381497" y="635820"/>
            <a:ext cx="2618558" cy="1509116"/>
          </a:xfrm>
          <a:prstGeom prst="rect">
            <a:avLst/>
          </a:prstGeom>
          <a:solidFill>
            <a:srgbClr val="00B050"/>
          </a:solidFill>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latin typeface="Arial" panose="020B0604020202020204" pitchFamily="34" charset="0"/>
                <a:cs typeface="Arial" panose="020B0604020202020204" pitchFamily="34" charset="0"/>
              </a:rPr>
              <a:t>Contribute to the discussion</a:t>
            </a:r>
          </a:p>
        </p:txBody>
      </p:sp>
      <p:sp>
        <p:nvSpPr>
          <p:cNvPr id="12" name="Rectangle: Rounded Corners 4">
            <a:extLst>
              <a:ext uri="{FF2B5EF4-FFF2-40B4-BE49-F238E27FC236}">
                <a16:creationId xmlns:a16="http://schemas.microsoft.com/office/drawing/2014/main" id="{A7FDD403-51CC-4729-880C-5AB9B7459428}"/>
              </a:ext>
            </a:extLst>
          </p:cNvPr>
          <p:cNvSpPr txBox="1"/>
          <p:nvPr/>
        </p:nvSpPr>
        <p:spPr>
          <a:xfrm>
            <a:off x="415311" y="2351047"/>
            <a:ext cx="2627320" cy="1509116"/>
          </a:xfrm>
          <a:prstGeom prst="rect">
            <a:avLst/>
          </a:prstGeom>
          <a:solidFill>
            <a:srgbClr val="00B050"/>
          </a:solidFill>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latin typeface="Arial" panose="020B0604020202020204" pitchFamily="34" charset="0"/>
                <a:cs typeface="Arial" panose="020B0604020202020204" pitchFamily="34" charset="0"/>
              </a:rPr>
              <a:t>Be prepared - Review Papers and Reports ahead of meetings</a:t>
            </a:r>
          </a:p>
        </p:txBody>
      </p:sp>
      <p:sp>
        <p:nvSpPr>
          <p:cNvPr id="16" name="Rectangle: Rounded Corners 4">
            <a:extLst>
              <a:ext uri="{FF2B5EF4-FFF2-40B4-BE49-F238E27FC236}">
                <a16:creationId xmlns:a16="http://schemas.microsoft.com/office/drawing/2014/main" id="{4A5E2C88-EC34-4815-A6D9-32DBDE091DAE}"/>
              </a:ext>
            </a:extLst>
          </p:cNvPr>
          <p:cNvSpPr txBox="1"/>
          <p:nvPr/>
        </p:nvSpPr>
        <p:spPr>
          <a:xfrm>
            <a:off x="3393338" y="641299"/>
            <a:ext cx="2565674" cy="1503637"/>
          </a:xfrm>
          <a:prstGeom prst="rect">
            <a:avLst/>
          </a:prstGeom>
          <a:solidFill>
            <a:srgbClr val="00B050"/>
          </a:solidFill>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dirty="0">
                <a:latin typeface="Arial" panose="020B0604020202020204" pitchFamily="34" charset="0"/>
                <a:cs typeface="Arial" panose="020B0604020202020204" pitchFamily="34" charset="0"/>
              </a:rPr>
              <a:t>Be respectful of each other’s opinions</a:t>
            </a:r>
            <a:endParaRPr lang="en-GB" sz="2000" kern="1200" dirty="0">
              <a:latin typeface="Arial" panose="020B0604020202020204" pitchFamily="34" charset="0"/>
              <a:cs typeface="Arial" panose="020B0604020202020204" pitchFamily="34" charset="0"/>
            </a:endParaRPr>
          </a:p>
        </p:txBody>
      </p:sp>
      <p:sp>
        <p:nvSpPr>
          <p:cNvPr id="17" name="Title 1">
            <a:extLst>
              <a:ext uri="{FF2B5EF4-FFF2-40B4-BE49-F238E27FC236}">
                <a16:creationId xmlns:a16="http://schemas.microsoft.com/office/drawing/2014/main" id="{9DC27E87-A6C6-4DB1-AE2B-E95E9DC14420}"/>
              </a:ext>
            </a:extLst>
          </p:cNvPr>
          <p:cNvSpPr txBox="1">
            <a:spLocks/>
          </p:cNvSpPr>
          <p:nvPr/>
        </p:nvSpPr>
        <p:spPr>
          <a:xfrm>
            <a:off x="314374" y="3860163"/>
            <a:ext cx="11350920" cy="657605"/>
          </a:xfrm>
          <a:prstGeom prst="rect">
            <a:avLst/>
          </a:prstGeom>
        </p:spPr>
        <p:txBody>
          <a:bodyPr anchor="t"/>
          <a:lstStyle>
            <a:lvl1pPr algn="l" defTabSz="914377" rtl="0" eaLnBrk="1" latinLnBrk="0" hangingPunct="1">
              <a:lnSpc>
                <a:spcPct val="90000"/>
              </a:lnSpc>
              <a:spcBef>
                <a:spcPct val="0"/>
              </a:spcBef>
              <a:buNone/>
              <a:defRPr sz="4400" b="0" i="0" kern="120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sz="2400" b="1" dirty="0"/>
              <a:t>Your Roles</a:t>
            </a:r>
            <a:endParaRPr lang="en-GB" altLang="en-US" sz="2400" b="1" dirty="0"/>
          </a:p>
        </p:txBody>
      </p:sp>
      <p:sp>
        <p:nvSpPr>
          <p:cNvPr id="18" name="Rectangle: Rounded Corners 4">
            <a:extLst>
              <a:ext uri="{FF2B5EF4-FFF2-40B4-BE49-F238E27FC236}">
                <a16:creationId xmlns:a16="http://schemas.microsoft.com/office/drawing/2014/main" id="{84256EA4-EC27-4C3F-A491-71B0BBDE9AD3}"/>
              </a:ext>
            </a:extLst>
          </p:cNvPr>
          <p:cNvSpPr txBox="1"/>
          <p:nvPr/>
        </p:nvSpPr>
        <p:spPr>
          <a:xfrm>
            <a:off x="3383064" y="2351047"/>
            <a:ext cx="2575981" cy="1509116"/>
          </a:xfrm>
          <a:prstGeom prst="rect">
            <a:avLst/>
          </a:prstGeom>
          <a:solidFill>
            <a:srgbClr val="00B050"/>
          </a:solidFill>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latin typeface="Arial" panose="020B0604020202020204" pitchFamily="34" charset="0"/>
                <a:cs typeface="Arial" panose="020B0604020202020204" pitchFamily="34" charset="0"/>
              </a:rPr>
              <a:t>Complete actions in a timely manner</a:t>
            </a:r>
          </a:p>
        </p:txBody>
      </p:sp>
      <p:sp>
        <p:nvSpPr>
          <p:cNvPr id="19" name="Rectangle: Rounded Corners 4">
            <a:extLst>
              <a:ext uri="{FF2B5EF4-FFF2-40B4-BE49-F238E27FC236}">
                <a16:creationId xmlns:a16="http://schemas.microsoft.com/office/drawing/2014/main" id="{3C4E7432-2F14-4742-BB97-A6161F0BFD22}"/>
              </a:ext>
            </a:extLst>
          </p:cNvPr>
          <p:cNvSpPr txBox="1"/>
          <p:nvPr/>
        </p:nvSpPr>
        <p:spPr>
          <a:xfrm>
            <a:off x="3383064" y="4292800"/>
            <a:ext cx="2618558" cy="1509116"/>
          </a:xfrm>
          <a:prstGeom prst="rect">
            <a:avLst/>
          </a:prstGeom>
          <a:solidFill>
            <a:srgbClr val="00B050"/>
          </a:solidFill>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latin typeface="Arial" panose="020B0604020202020204" pitchFamily="34" charset="0"/>
                <a:cs typeface="Arial" panose="020B0604020202020204" pitchFamily="34" charset="0"/>
              </a:rPr>
              <a:t>Bring forward alternatives as early as possible</a:t>
            </a:r>
          </a:p>
        </p:txBody>
      </p:sp>
      <p:sp>
        <p:nvSpPr>
          <p:cNvPr id="20" name="Rectangle: Rounded Corners 4">
            <a:extLst>
              <a:ext uri="{FF2B5EF4-FFF2-40B4-BE49-F238E27FC236}">
                <a16:creationId xmlns:a16="http://schemas.microsoft.com/office/drawing/2014/main" id="{794C2450-0C35-4775-920A-EFA34A2758C7}"/>
              </a:ext>
            </a:extLst>
          </p:cNvPr>
          <p:cNvSpPr txBox="1"/>
          <p:nvPr/>
        </p:nvSpPr>
        <p:spPr>
          <a:xfrm>
            <a:off x="6258314" y="4261980"/>
            <a:ext cx="2618558" cy="1509116"/>
          </a:xfrm>
          <a:prstGeom prst="rect">
            <a:avLst/>
          </a:prstGeom>
          <a:solidFill>
            <a:srgbClr val="00B050"/>
          </a:solidFill>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latin typeface="Arial" panose="020B0604020202020204" pitchFamily="34" charset="0"/>
                <a:cs typeface="Arial" panose="020B0604020202020204" pitchFamily="34" charset="0"/>
              </a:rPr>
              <a:t>Vote on whether or not to proceed with requests for Alternatives</a:t>
            </a:r>
          </a:p>
        </p:txBody>
      </p:sp>
      <p:sp>
        <p:nvSpPr>
          <p:cNvPr id="21" name="Rectangle: Rounded Corners 4">
            <a:extLst>
              <a:ext uri="{FF2B5EF4-FFF2-40B4-BE49-F238E27FC236}">
                <a16:creationId xmlns:a16="http://schemas.microsoft.com/office/drawing/2014/main" id="{6E76454A-0AB2-4E84-A9CE-761D8AD7326E}"/>
              </a:ext>
            </a:extLst>
          </p:cNvPr>
          <p:cNvSpPr txBox="1"/>
          <p:nvPr/>
        </p:nvSpPr>
        <p:spPr>
          <a:xfrm>
            <a:off x="6311198" y="2351047"/>
            <a:ext cx="2565674" cy="1509116"/>
          </a:xfrm>
          <a:prstGeom prst="rect">
            <a:avLst/>
          </a:prstGeom>
          <a:solidFill>
            <a:srgbClr val="00B050"/>
          </a:solidFill>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latin typeface="Arial" panose="020B0604020202020204" pitchFamily="34" charset="0"/>
                <a:cs typeface="Arial" panose="020B0604020202020204" pitchFamily="34" charset="0"/>
              </a:rPr>
              <a:t>Keep to agreed scope</a:t>
            </a:r>
          </a:p>
        </p:txBody>
      </p:sp>
      <p:sp>
        <p:nvSpPr>
          <p:cNvPr id="22" name="Rectangle: Rounded Corners 4">
            <a:extLst>
              <a:ext uri="{FF2B5EF4-FFF2-40B4-BE49-F238E27FC236}">
                <a16:creationId xmlns:a16="http://schemas.microsoft.com/office/drawing/2014/main" id="{8E471280-6A26-4F71-82A4-ABDBB200C446}"/>
              </a:ext>
            </a:extLst>
          </p:cNvPr>
          <p:cNvSpPr txBox="1"/>
          <p:nvPr/>
        </p:nvSpPr>
        <p:spPr>
          <a:xfrm>
            <a:off x="424073" y="4279724"/>
            <a:ext cx="2618558" cy="1509116"/>
          </a:xfrm>
          <a:prstGeom prst="rect">
            <a:avLst/>
          </a:prstGeom>
          <a:solidFill>
            <a:srgbClr val="00B050"/>
          </a:solidFill>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latin typeface="Arial" panose="020B0604020202020204" pitchFamily="34" charset="0"/>
                <a:cs typeface="Arial" panose="020B0604020202020204" pitchFamily="34" charset="0"/>
              </a:rPr>
              <a:t>Help refine/develop the solution(s)</a:t>
            </a:r>
          </a:p>
        </p:txBody>
      </p:sp>
      <p:sp>
        <p:nvSpPr>
          <p:cNvPr id="23" name="Rectangle: Rounded Corners 4">
            <a:extLst>
              <a:ext uri="{FF2B5EF4-FFF2-40B4-BE49-F238E27FC236}">
                <a16:creationId xmlns:a16="http://schemas.microsoft.com/office/drawing/2014/main" id="{4D825453-0060-4C76-992D-977A38861129}"/>
              </a:ext>
            </a:extLst>
          </p:cNvPr>
          <p:cNvSpPr txBox="1"/>
          <p:nvPr/>
        </p:nvSpPr>
        <p:spPr>
          <a:xfrm>
            <a:off x="9153923" y="4270544"/>
            <a:ext cx="2618558" cy="1509116"/>
          </a:xfrm>
          <a:prstGeom prst="rect">
            <a:avLst/>
          </a:prstGeom>
          <a:solidFill>
            <a:srgbClr val="00B050"/>
          </a:solidFill>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latin typeface="Arial" panose="020B0604020202020204" pitchFamily="34" charset="0"/>
                <a:cs typeface="Arial" panose="020B0604020202020204" pitchFamily="34" charset="0"/>
              </a:rPr>
              <a:t>Vote on whether the solution(s) better facilitate the Code Objectives</a:t>
            </a:r>
          </a:p>
        </p:txBody>
      </p:sp>
      <p:sp>
        <p:nvSpPr>
          <p:cNvPr id="14" name="Rectangle: Rounded Corners 4">
            <a:extLst>
              <a:ext uri="{FF2B5EF4-FFF2-40B4-BE49-F238E27FC236}">
                <a16:creationId xmlns:a16="http://schemas.microsoft.com/office/drawing/2014/main" id="{3655A8C2-7E50-4FC9-BEC4-69317240FE22}"/>
              </a:ext>
            </a:extLst>
          </p:cNvPr>
          <p:cNvSpPr txBox="1"/>
          <p:nvPr/>
        </p:nvSpPr>
        <p:spPr>
          <a:xfrm>
            <a:off x="9085188" y="667882"/>
            <a:ext cx="2627320" cy="1509116"/>
          </a:xfrm>
          <a:prstGeom prst="rect">
            <a:avLst/>
          </a:prstGeom>
          <a:solidFill>
            <a:srgbClr val="00B050"/>
          </a:solidFill>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dirty="0">
                <a:latin typeface="Arial" panose="020B0604020202020204" pitchFamily="34" charset="0"/>
                <a:cs typeface="Arial" panose="020B0604020202020204" pitchFamily="34" charset="0"/>
              </a:rPr>
              <a:t>Do not share commercially sensitive information</a:t>
            </a:r>
            <a:endParaRPr lang="en-GB" sz="2000" kern="1200" dirty="0">
              <a:latin typeface="Arial" panose="020B0604020202020204" pitchFamily="34" charset="0"/>
              <a:cs typeface="Arial" panose="020B0604020202020204" pitchFamily="34" charset="0"/>
            </a:endParaRPr>
          </a:p>
        </p:txBody>
      </p:sp>
      <p:sp>
        <p:nvSpPr>
          <p:cNvPr id="15" name="Rectangle: Rounded Corners 4">
            <a:extLst>
              <a:ext uri="{FF2B5EF4-FFF2-40B4-BE49-F238E27FC236}">
                <a16:creationId xmlns:a16="http://schemas.microsoft.com/office/drawing/2014/main" id="{B21794A8-2B2E-49D5-AB9A-16637E219B73}"/>
              </a:ext>
            </a:extLst>
          </p:cNvPr>
          <p:cNvSpPr txBox="1"/>
          <p:nvPr/>
        </p:nvSpPr>
        <p:spPr>
          <a:xfrm>
            <a:off x="6249552" y="635820"/>
            <a:ext cx="2627320" cy="1509116"/>
          </a:xfrm>
          <a:prstGeom prst="rect">
            <a:avLst/>
          </a:prstGeom>
          <a:solidFill>
            <a:srgbClr val="00B050"/>
          </a:solidFill>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dirty="0">
                <a:latin typeface="Arial" panose="020B0604020202020204" pitchFamily="34" charset="0"/>
                <a:cs typeface="Arial" panose="020B0604020202020204" pitchFamily="34" charset="0"/>
              </a:rPr>
              <a:t>Language and Conduct to be consistent with the values of equality and diversity</a:t>
            </a:r>
            <a:endParaRPr lang="en-GB" sz="2000" kern="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719225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9BE2949-70F1-4A3B-B3AF-B6A47E266139}"/>
              </a:ext>
            </a:extLst>
          </p:cNvPr>
          <p:cNvSpPr>
            <a:spLocks noGrp="1"/>
          </p:cNvSpPr>
          <p:nvPr>
            <p:ph type="body" sz="quarter" idx="11"/>
          </p:nvPr>
        </p:nvSpPr>
        <p:spPr/>
        <p:txBody>
          <a:bodyPr/>
          <a:lstStyle/>
          <a:p>
            <a:r>
              <a:rPr lang="en-GB" b="1" dirty="0"/>
              <a:t>Workgroup Alternatives and Workgroup Vote</a:t>
            </a:r>
          </a:p>
        </p:txBody>
      </p:sp>
      <p:sp>
        <p:nvSpPr>
          <p:cNvPr id="6" name="Text Placeholder 1">
            <a:extLst>
              <a:ext uri="{FF2B5EF4-FFF2-40B4-BE49-F238E27FC236}">
                <a16:creationId xmlns:a16="http://schemas.microsoft.com/office/drawing/2014/main" id="{9EF1DD5D-9EE3-4A13-800E-7B517DD47E99}"/>
              </a:ext>
            </a:extLst>
          </p:cNvPr>
          <p:cNvSpPr txBox="1">
            <a:spLocks/>
          </p:cNvSpPr>
          <p:nvPr/>
        </p:nvSpPr>
        <p:spPr>
          <a:xfrm>
            <a:off x="1697038" y="3289300"/>
            <a:ext cx="7079317" cy="1677988"/>
          </a:xfrm>
          <a:prstGeom prst="rect">
            <a:avLst/>
          </a:prstGeom>
        </p:spPr>
        <p:txBody>
          <a:bodyPr/>
          <a:lstStyle>
            <a:lvl1pPr marL="0" indent="0" algn="l" defTabSz="914377" rtl="0" eaLnBrk="1" latinLnBrk="0" hangingPunct="1">
              <a:lnSpc>
                <a:spcPct val="90000"/>
              </a:lnSpc>
              <a:spcBef>
                <a:spcPts val="1000"/>
              </a:spcBef>
              <a:buFont typeface="Arial" panose="020B0604020202020204" pitchFamily="34" charset="0"/>
              <a:buNone/>
              <a:defRPr sz="1600" b="0" i="0" kern="1200">
                <a:solidFill>
                  <a:srgbClr val="FFBF22"/>
                </a:solidFill>
                <a:latin typeface="Helvetica Neue LT Std 45 Light" panose="020B0403020202020204" pitchFamily="34"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800" b="0" i="0" kern="1200">
                <a:solidFill>
                  <a:srgbClr val="E8BC28"/>
                </a:solidFill>
                <a:latin typeface="Helvetica Neue LT Std 45 Light" panose="020B0403020202020204" pitchFamily="34" charset="0"/>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600" b="0" i="0" kern="1200">
                <a:solidFill>
                  <a:srgbClr val="E8BC28"/>
                </a:solidFill>
                <a:latin typeface="Helvetica Neue LT Std 45 Light" panose="020B0403020202020204" pitchFamily="34" charset="0"/>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b="0" i="0" kern="1200">
                <a:solidFill>
                  <a:srgbClr val="E8BC28"/>
                </a:solidFill>
                <a:latin typeface="Helvetica Neue LT Std 45 Light" panose="020B0403020202020204" pitchFamily="34" charset="0"/>
                <a:ea typeface="+mn-ea"/>
                <a:cs typeface="+mn-cs"/>
              </a:defRPr>
            </a:lvl4pPr>
            <a:lvl5pPr marL="1828755" indent="0" algn="l" defTabSz="914377" rtl="0" eaLnBrk="1" latinLnBrk="0" hangingPunct="1">
              <a:lnSpc>
                <a:spcPct val="90000"/>
              </a:lnSpc>
              <a:spcBef>
                <a:spcPts val="500"/>
              </a:spcBef>
              <a:buFont typeface="Arial" panose="020B0604020202020204" pitchFamily="34" charset="0"/>
              <a:buNone/>
              <a:defRPr sz="1400" b="0" i="0" kern="1200">
                <a:solidFill>
                  <a:srgbClr val="E8BC28"/>
                </a:solidFill>
                <a:latin typeface="Helvetica Neue LT Std 45 Light" panose="020B04030202020202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dirty="0">
                <a:solidFill>
                  <a:srgbClr val="0079C1"/>
                </a:solidFill>
                <a:latin typeface="Arial" panose="020B0604020202020204" pitchFamily="34" charset="0"/>
                <a:cs typeface="Arial" panose="020B0604020202020204" pitchFamily="34" charset="0"/>
              </a:rPr>
              <a:t>Paul Mullen – National Grid ESO Code Administrator</a:t>
            </a:r>
          </a:p>
        </p:txBody>
      </p:sp>
    </p:spTree>
    <p:extLst>
      <p:ext uri="{BB962C8B-B14F-4D97-AF65-F5344CB8AC3E}">
        <p14:creationId xmlns:p14="http://schemas.microsoft.com/office/powerpoint/2010/main" val="2665620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17303" y="204243"/>
            <a:ext cx="11350920" cy="657605"/>
          </a:xfrm>
        </p:spPr>
        <p:txBody>
          <a:bodyPr/>
          <a:lstStyle/>
          <a:p>
            <a:r>
              <a:rPr lang="en-GB" sz="2400" b="1" dirty="0"/>
              <a:t>Can I vote? and What is the Alternative Vote?</a:t>
            </a:r>
            <a:endParaRPr lang="en-GB" altLang="en-US" sz="2400" b="1" dirty="0"/>
          </a:p>
        </p:txBody>
      </p:sp>
      <p:sp>
        <p:nvSpPr>
          <p:cNvPr id="3" name="Rectangle 2"/>
          <p:cNvSpPr/>
          <p:nvPr/>
        </p:nvSpPr>
        <p:spPr>
          <a:xfrm>
            <a:off x="217303" y="977735"/>
            <a:ext cx="11521280" cy="379656"/>
          </a:xfrm>
          <a:prstGeom prst="rect">
            <a:avLst/>
          </a:prstGeom>
        </p:spPr>
        <p:txBody>
          <a:bodyPr wrap="square" anchor="t">
            <a:spAutoFit/>
          </a:bodyPr>
          <a:lstStyle/>
          <a:p>
            <a:pPr marL="0" marR="0" lvl="0" indent="-249265" algn="just"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endParaRPr>
          </a:p>
          <a:p>
            <a:pPr marL="0" marR="0" lvl="0" indent="0" algn="l" defTabSz="554478" rtl="0" eaLnBrk="1" fontAlgn="auto" latinLnBrk="0" hangingPunct="1">
              <a:lnSpc>
                <a:spcPct val="100000"/>
              </a:lnSpc>
              <a:spcBef>
                <a:spcPts val="0"/>
              </a:spcBef>
              <a:spcAft>
                <a:spcPts val="0"/>
              </a:spcAft>
              <a:buClrTx/>
              <a:buSzTx/>
              <a:buFontTx/>
              <a:buNone/>
              <a:tabLst/>
              <a:defRPr/>
            </a:pPr>
            <a:endParaRPr kumimoji="0" lang="en-GB" altLang="en-US" sz="267" b="0" i="0" u="none" strike="noStrike" kern="1200" cap="none" spc="0" normalizeH="0" baseline="0" noProof="0" dirty="0">
              <a:ln>
                <a:noFill/>
              </a:ln>
              <a:solidFill>
                <a:srgbClr val="454545"/>
              </a:solidFill>
              <a:effectLst/>
              <a:uLnTx/>
              <a:uFillTx/>
              <a:latin typeface="Arial" panose="020B0604020202020204"/>
              <a:ea typeface="+mn-ea"/>
              <a:cs typeface="+mn-cs"/>
            </a:endParaRPr>
          </a:p>
        </p:txBody>
      </p:sp>
      <p:graphicFrame>
        <p:nvGraphicFramePr>
          <p:cNvPr id="5" name="Diagram 4">
            <a:extLst>
              <a:ext uri="{FF2B5EF4-FFF2-40B4-BE49-F238E27FC236}">
                <a16:creationId xmlns:a16="http://schemas.microsoft.com/office/drawing/2014/main" id="{69CCDA93-5F31-4AD0-ACB1-0F5F6AFEA016}"/>
              </a:ext>
            </a:extLst>
          </p:cNvPr>
          <p:cNvGraphicFramePr/>
          <p:nvPr>
            <p:extLst>
              <p:ext uri="{D42A27DB-BD31-4B8C-83A1-F6EECF244321}">
                <p14:modId xmlns:p14="http://schemas.microsoft.com/office/powerpoint/2010/main" val="4001767883"/>
              </p:ext>
            </p:extLst>
          </p:nvPr>
        </p:nvGraphicFramePr>
        <p:xfrm>
          <a:off x="499729" y="2030818"/>
          <a:ext cx="11350919" cy="37320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7" name="Group 6">
            <a:extLst>
              <a:ext uri="{FF2B5EF4-FFF2-40B4-BE49-F238E27FC236}">
                <a16:creationId xmlns:a16="http://schemas.microsoft.com/office/drawing/2014/main" id="{FD4F61AE-17F8-4E3A-91FE-A0DF88250829}"/>
              </a:ext>
            </a:extLst>
          </p:cNvPr>
          <p:cNvGrpSpPr/>
          <p:nvPr/>
        </p:nvGrpSpPr>
        <p:grpSpPr>
          <a:xfrm>
            <a:off x="453417" y="882664"/>
            <a:ext cx="11339834" cy="797287"/>
            <a:chOff x="5542" y="0"/>
            <a:chExt cx="11339834" cy="797287"/>
          </a:xfrm>
          <a:solidFill>
            <a:srgbClr val="00B050"/>
          </a:solidFill>
        </p:grpSpPr>
        <p:sp>
          <p:nvSpPr>
            <p:cNvPr id="8" name="Rectangle: Rounded Corners 7">
              <a:extLst>
                <a:ext uri="{FF2B5EF4-FFF2-40B4-BE49-F238E27FC236}">
                  <a16:creationId xmlns:a16="http://schemas.microsoft.com/office/drawing/2014/main" id="{6534089E-20D7-49E3-8211-7BABA7ACD078}"/>
                </a:ext>
              </a:extLst>
            </p:cNvPr>
            <p:cNvSpPr/>
            <p:nvPr/>
          </p:nvSpPr>
          <p:spPr>
            <a:xfrm>
              <a:off x="5542" y="0"/>
              <a:ext cx="11339834" cy="797287"/>
            </a:xfrm>
            <a:prstGeom prst="roundRect">
              <a:avLst>
                <a:gd name="adj" fmla="val 10000"/>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9" name="Rectangle: Rounded Corners 4">
              <a:extLst>
                <a:ext uri="{FF2B5EF4-FFF2-40B4-BE49-F238E27FC236}">
                  <a16:creationId xmlns:a16="http://schemas.microsoft.com/office/drawing/2014/main" id="{002CA36E-E9C0-4E6F-88AD-9E90DCA7D22B}"/>
                </a:ext>
              </a:extLst>
            </p:cNvPr>
            <p:cNvSpPr txBox="1"/>
            <p:nvPr/>
          </p:nvSpPr>
          <p:spPr>
            <a:xfrm>
              <a:off x="42912" y="37371"/>
              <a:ext cx="11265094" cy="759916"/>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latin typeface="Arial" panose="020B0604020202020204" pitchFamily="34" charset="0"/>
                  <a:cs typeface="Arial" panose="020B0604020202020204" pitchFamily="34" charset="0"/>
                </a:rPr>
                <a:t>To participate in any votes, Workgroup members need to have attended at least 50% of meetings</a:t>
              </a:r>
            </a:p>
          </p:txBody>
        </p:sp>
      </p:grpSp>
    </p:spTree>
    <p:extLst>
      <p:ext uri="{BB962C8B-B14F-4D97-AF65-F5344CB8AC3E}">
        <p14:creationId xmlns:p14="http://schemas.microsoft.com/office/powerpoint/2010/main" val="23313491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17303" y="204243"/>
            <a:ext cx="11350920" cy="657605"/>
          </a:xfrm>
        </p:spPr>
        <p:txBody>
          <a:bodyPr/>
          <a:lstStyle/>
          <a:p>
            <a:r>
              <a:rPr lang="en-GB" sz="2400" b="1" dirty="0"/>
              <a:t>Can I vote? and What is the Workgroup Vote?</a:t>
            </a:r>
            <a:endParaRPr lang="en-GB" altLang="en-US" sz="2400" b="1" dirty="0"/>
          </a:p>
        </p:txBody>
      </p:sp>
      <p:sp>
        <p:nvSpPr>
          <p:cNvPr id="3" name="Rectangle 2"/>
          <p:cNvSpPr/>
          <p:nvPr/>
        </p:nvSpPr>
        <p:spPr>
          <a:xfrm>
            <a:off x="217303" y="977735"/>
            <a:ext cx="11521280" cy="379656"/>
          </a:xfrm>
          <a:prstGeom prst="rect">
            <a:avLst/>
          </a:prstGeom>
        </p:spPr>
        <p:txBody>
          <a:bodyPr wrap="square" anchor="t">
            <a:spAutoFit/>
          </a:bodyPr>
          <a:lstStyle/>
          <a:p>
            <a:pPr marL="0" marR="0" lvl="0" indent="-249265" algn="just"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endParaRPr>
          </a:p>
          <a:p>
            <a:pPr marL="0" marR="0" lvl="0" indent="0" algn="l" defTabSz="554478" rtl="0" eaLnBrk="1" fontAlgn="auto" latinLnBrk="0" hangingPunct="1">
              <a:lnSpc>
                <a:spcPct val="100000"/>
              </a:lnSpc>
              <a:spcBef>
                <a:spcPts val="0"/>
              </a:spcBef>
              <a:spcAft>
                <a:spcPts val="0"/>
              </a:spcAft>
              <a:buClrTx/>
              <a:buSzTx/>
              <a:buFontTx/>
              <a:buNone/>
              <a:tabLst/>
              <a:defRPr/>
            </a:pPr>
            <a:endParaRPr kumimoji="0" lang="en-GB" altLang="en-US" sz="267" b="0" i="0" u="none" strike="noStrike" kern="1200" cap="none" spc="0" normalizeH="0" baseline="0" noProof="0" dirty="0">
              <a:ln>
                <a:noFill/>
              </a:ln>
              <a:solidFill>
                <a:srgbClr val="454545"/>
              </a:solidFill>
              <a:effectLst/>
              <a:uLnTx/>
              <a:uFillTx/>
              <a:latin typeface="Arial" panose="020B0604020202020204"/>
              <a:ea typeface="+mn-ea"/>
              <a:cs typeface="+mn-cs"/>
            </a:endParaRPr>
          </a:p>
        </p:txBody>
      </p:sp>
      <p:graphicFrame>
        <p:nvGraphicFramePr>
          <p:cNvPr id="5" name="Diagram 4">
            <a:extLst>
              <a:ext uri="{FF2B5EF4-FFF2-40B4-BE49-F238E27FC236}">
                <a16:creationId xmlns:a16="http://schemas.microsoft.com/office/drawing/2014/main" id="{69CCDA93-5F31-4AD0-ACB1-0F5F6AFEA016}"/>
              </a:ext>
            </a:extLst>
          </p:cNvPr>
          <p:cNvGraphicFramePr/>
          <p:nvPr>
            <p:extLst>
              <p:ext uri="{D42A27DB-BD31-4B8C-83A1-F6EECF244321}">
                <p14:modId xmlns:p14="http://schemas.microsoft.com/office/powerpoint/2010/main" val="3728418226"/>
              </p:ext>
            </p:extLst>
          </p:nvPr>
        </p:nvGraphicFramePr>
        <p:xfrm>
          <a:off x="499729" y="2083980"/>
          <a:ext cx="11350919" cy="30302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7" name="Group 6">
            <a:extLst>
              <a:ext uri="{FF2B5EF4-FFF2-40B4-BE49-F238E27FC236}">
                <a16:creationId xmlns:a16="http://schemas.microsoft.com/office/drawing/2014/main" id="{FD4F61AE-17F8-4E3A-91FE-A0DF88250829}"/>
              </a:ext>
            </a:extLst>
          </p:cNvPr>
          <p:cNvGrpSpPr/>
          <p:nvPr/>
        </p:nvGrpSpPr>
        <p:grpSpPr>
          <a:xfrm>
            <a:off x="453417" y="882664"/>
            <a:ext cx="11339834" cy="797287"/>
            <a:chOff x="5542" y="0"/>
            <a:chExt cx="11339834" cy="797287"/>
          </a:xfrm>
          <a:solidFill>
            <a:srgbClr val="00B050"/>
          </a:solidFill>
        </p:grpSpPr>
        <p:sp>
          <p:nvSpPr>
            <p:cNvPr id="8" name="Rectangle: Rounded Corners 7">
              <a:extLst>
                <a:ext uri="{FF2B5EF4-FFF2-40B4-BE49-F238E27FC236}">
                  <a16:creationId xmlns:a16="http://schemas.microsoft.com/office/drawing/2014/main" id="{6534089E-20D7-49E3-8211-7BABA7ACD078}"/>
                </a:ext>
              </a:extLst>
            </p:cNvPr>
            <p:cNvSpPr/>
            <p:nvPr/>
          </p:nvSpPr>
          <p:spPr>
            <a:xfrm>
              <a:off x="5542" y="0"/>
              <a:ext cx="11339834" cy="797287"/>
            </a:xfrm>
            <a:prstGeom prst="roundRect">
              <a:avLst>
                <a:gd name="adj" fmla="val 10000"/>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9" name="Rectangle: Rounded Corners 4">
              <a:extLst>
                <a:ext uri="{FF2B5EF4-FFF2-40B4-BE49-F238E27FC236}">
                  <a16:creationId xmlns:a16="http://schemas.microsoft.com/office/drawing/2014/main" id="{002CA36E-E9C0-4E6F-88AD-9E90DCA7D22B}"/>
                </a:ext>
              </a:extLst>
            </p:cNvPr>
            <p:cNvSpPr txBox="1"/>
            <p:nvPr/>
          </p:nvSpPr>
          <p:spPr>
            <a:xfrm>
              <a:off x="42912" y="37371"/>
              <a:ext cx="11265094" cy="759916"/>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latin typeface="Arial" panose="020B0604020202020204" pitchFamily="34" charset="0"/>
                  <a:cs typeface="Arial" panose="020B0604020202020204" pitchFamily="34" charset="0"/>
                </a:rPr>
                <a:t>To participate in any votes, Workgroup members need to have attended at least 50% of meetings</a:t>
              </a:r>
            </a:p>
          </p:txBody>
        </p:sp>
      </p:grpSp>
    </p:spTree>
    <p:extLst>
      <p:ext uri="{BB962C8B-B14F-4D97-AF65-F5344CB8AC3E}">
        <p14:creationId xmlns:p14="http://schemas.microsoft.com/office/powerpoint/2010/main" val="40697661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9BE2949-70F1-4A3B-B3AF-B6A47E266139}"/>
              </a:ext>
            </a:extLst>
          </p:cNvPr>
          <p:cNvSpPr>
            <a:spLocks noGrp="1"/>
          </p:cNvSpPr>
          <p:nvPr>
            <p:ph type="body" sz="quarter" idx="11"/>
          </p:nvPr>
        </p:nvSpPr>
        <p:spPr/>
        <p:txBody>
          <a:bodyPr/>
          <a:lstStyle/>
          <a:p>
            <a:r>
              <a:rPr lang="en-GB" b="1" dirty="0"/>
              <a:t>Terms of Reference</a:t>
            </a:r>
          </a:p>
        </p:txBody>
      </p:sp>
      <p:sp>
        <p:nvSpPr>
          <p:cNvPr id="7" name="Text Placeholder 1">
            <a:extLst>
              <a:ext uri="{FF2B5EF4-FFF2-40B4-BE49-F238E27FC236}">
                <a16:creationId xmlns:a16="http://schemas.microsoft.com/office/drawing/2014/main" id="{EA0665D2-3E02-44E7-BA17-BDE878441CC1}"/>
              </a:ext>
            </a:extLst>
          </p:cNvPr>
          <p:cNvSpPr txBox="1">
            <a:spLocks/>
          </p:cNvSpPr>
          <p:nvPr/>
        </p:nvSpPr>
        <p:spPr>
          <a:xfrm>
            <a:off x="1697037" y="2693399"/>
            <a:ext cx="7079317" cy="1677988"/>
          </a:xfrm>
          <a:prstGeom prst="rect">
            <a:avLst/>
          </a:prstGeom>
        </p:spPr>
        <p:txBody>
          <a:bodyPr/>
          <a:lstStyle>
            <a:lvl1pPr marL="0" indent="0" algn="l" defTabSz="914377" rtl="0" eaLnBrk="1" latinLnBrk="0" hangingPunct="1">
              <a:lnSpc>
                <a:spcPct val="90000"/>
              </a:lnSpc>
              <a:spcBef>
                <a:spcPts val="1000"/>
              </a:spcBef>
              <a:buFont typeface="Arial" panose="020B0604020202020204" pitchFamily="34" charset="0"/>
              <a:buNone/>
              <a:defRPr sz="1600" b="0" i="0" kern="1200">
                <a:solidFill>
                  <a:srgbClr val="FFBF22"/>
                </a:solidFill>
                <a:latin typeface="Helvetica Neue LT Std 45 Light" panose="020B0403020202020204" pitchFamily="34"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800" b="0" i="0" kern="1200">
                <a:solidFill>
                  <a:srgbClr val="E8BC28"/>
                </a:solidFill>
                <a:latin typeface="Helvetica Neue LT Std 45 Light" panose="020B0403020202020204" pitchFamily="34" charset="0"/>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600" b="0" i="0" kern="1200">
                <a:solidFill>
                  <a:srgbClr val="E8BC28"/>
                </a:solidFill>
                <a:latin typeface="Helvetica Neue LT Std 45 Light" panose="020B0403020202020204" pitchFamily="34" charset="0"/>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b="0" i="0" kern="1200">
                <a:solidFill>
                  <a:srgbClr val="E8BC28"/>
                </a:solidFill>
                <a:latin typeface="Helvetica Neue LT Std 45 Light" panose="020B0403020202020204" pitchFamily="34" charset="0"/>
                <a:ea typeface="+mn-ea"/>
                <a:cs typeface="+mn-cs"/>
              </a:defRPr>
            </a:lvl4pPr>
            <a:lvl5pPr marL="1828755" indent="0" algn="l" defTabSz="914377" rtl="0" eaLnBrk="1" latinLnBrk="0" hangingPunct="1">
              <a:lnSpc>
                <a:spcPct val="90000"/>
              </a:lnSpc>
              <a:spcBef>
                <a:spcPts val="500"/>
              </a:spcBef>
              <a:buFont typeface="Arial" panose="020B0604020202020204" pitchFamily="34" charset="0"/>
              <a:buNone/>
              <a:defRPr sz="1400" b="0" i="0" kern="1200">
                <a:solidFill>
                  <a:srgbClr val="E8BC28"/>
                </a:solidFill>
                <a:latin typeface="Helvetica Neue LT Std 45 Light" panose="020B04030202020202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dirty="0">
                <a:solidFill>
                  <a:srgbClr val="0079C1"/>
                </a:solidFill>
                <a:latin typeface="Arial" panose="020B0604020202020204" pitchFamily="34" charset="0"/>
                <a:cs typeface="Arial" panose="020B0604020202020204" pitchFamily="34" charset="0"/>
              </a:rPr>
              <a:t>Paul Mullen – National Grid ESO Code Administrator</a:t>
            </a:r>
          </a:p>
        </p:txBody>
      </p:sp>
    </p:spTree>
    <p:extLst>
      <p:ext uri="{BB962C8B-B14F-4D97-AF65-F5344CB8AC3E}">
        <p14:creationId xmlns:p14="http://schemas.microsoft.com/office/powerpoint/2010/main" val="14673410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431371" y="356659"/>
            <a:ext cx="11521280" cy="1344149"/>
          </a:xfrm>
        </p:spPr>
        <p:txBody>
          <a:bodyPr/>
          <a:lstStyle/>
          <a:p>
            <a:r>
              <a:rPr lang="en-GB" altLang="en-US" sz="3733" b="1" dirty="0">
                <a:solidFill>
                  <a:srgbClr val="FFBF22"/>
                </a:solidFill>
                <a:latin typeface="Helvetica Neue Condensed"/>
              </a:rPr>
              <a:t>CMP381 – Terms of Reference</a:t>
            </a:r>
            <a:endParaRPr lang="en-GB" altLang="en-US" sz="1867" b="1" dirty="0">
              <a:solidFill>
                <a:srgbClr val="FFBF22"/>
              </a:solidFill>
              <a:latin typeface="Helvetica Neue Condensed"/>
            </a:endParaRPr>
          </a:p>
        </p:txBody>
      </p:sp>
      <p:sp>
        <p:nvSpPr>
          <p:cNvPr id="2" name="Rectangle 1">
            <a:extLst>
              <a:ext uri="{FF2B5EF4-FFF2-40B4-BE49-F238E27FC236}">
                <a16:creationId xmlns:a16="http://schemas.microsoft.com/office/drawing/2014/main" id="{5AF45709-3114-417E-A19A-16820203AD65}"/>
              </a:ext>
            </a:extLst>
          </p:cNvPr>
          <p:cNvSpPr/>
          <p:nvPr/>
        </p:nvSpPr>
        <p:spPr>
          <a:xfrm>
            <a:off x="702365" y="919012"/>
            <a:ext cx="10986051" cy="4401205"/>
          </a:xfrm>
          <a:prstGeom prst="rect">
            <a:avLst/>
          </a:prstGeom>
        </p:spPr>
        <p:txBody>
          <a:bodyPr wrap="square">
            <a:spAutoFit/>
          </a:bodyPr>
          <a:lstStyle/>
          <a:p>
            <a:pPr marL="342900" marR="0" lvl="0" indent="-342900" algn="just" defTabSz="4572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GB" sz="2000" b="0" i="0" u="none" strike="noStrike" kern="1200" cap="none" spc="0" normalizeH="0" baseline="0" noProof="0" dirty="0">
                <a:ln>
                  <a:noFill/>
                </a:ln>
                <a:solidFill>
                  <a:srgbClr val="454545"/>
                </a:solidFill>
                <a:effectLst/>
                <a:uLnTx/>
                <a:uFillTx/>
                <a:latin typeface="Arial" panose="020B0604020202020204"/>
                <a:ea typeface="+mn-ea"/>
                <a:cs typeface="+mn-cs"/>
              </a:rPr>
              <a:t>Consider whether or not a £10/MWh cap on BSUoS is appropriate or justify if another £/MWh cap is more appropriate</a:t>
            </a:r>
          </a:p>
          <a:p>
            <a:pPr marL="342900" marR="0" lvl="0" indent="-342900" algn="just" defTabSz="457200" rtl="0" eaLnBrk="1" fontAlgn="auto" latinLnBrk="0" hangingPunct="1">
              <a:lnSpc>
                <a:spcPct val="100000"/>
              </a:lnSpc>
              <a:spcBef>
                <a:spcPts val="0"/>
              </a:spcBef>
              <a:spcAft>
                <a:spcPts val="0"/>
              </a:spcAft>
              <a:buClrTx/>
              <a:buSzTx/>
              <a:buFont typeface="Symbol" panose="05050102010706020507" pitchFamily="18" charset="2"/>
              <a:buChar char=""/>
              <a:tabLst/>
              <a:defRPr/>
            </a:pPr>
            <a:endParaRPr kumimoji="0" lang="en-GB" sz="2000" b="0" i="0" u="none" strike="noStrike" kern="1200" cap="none" spc="0" normalizeH="0" baseline="0" noProof="0" dirty="0">
              <a:ln>
                <a:noFill/>
              </a:ln>
              <a:solidFill>
                <a:srgbClr val="454545"/>
              </a:solidFill>
              <a:effectLst/>
              <a:uLnTx/>
              <a:uFillTx/>
              <a:latin typeface="Arial" panose="020B0604020202020204"/>
              <a:ea typeface="+mn-ea"/>
              <a:cs typeface="+mn-cs"/>
            </a:endParaRPr>
          </a:p>
          <a:p>
            <a:pPr marL="342900" marR="0" lvl="0" indent="-342900" algn="just" defTabSz="4572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GB" sz="2000" b="0" i="0" u="none" strike="noStrike" kern="1200" cap="none" spc="0" normalizeH="0" baseline="0" noProof="0" dirty="0">
                <a:ln>
                  <a:noFill/>
                </a:ln>
                <a:solidFill>
                  <a:srgbClr val="454545"/>
                </a:solidFill>
                <a:effectLst/>
                <a:uLnTx/>
                <a:uFillTx/>
                <a:latin typeface="Arial" panose="020B0604020202020204"/>
                <a:ea typeface="+mn-ea"/>
                <a:cs typeface="+mn-cs"/>
              </a:rPr>
              <a:t>Consider if the £10/MWh cap on BSUoS should be in place from 1 January 2022 to 31 March 2022 or a different time period</a:t>
            </a:r>
          </a:p>
          <a:p>
            <a:pPr marL="342900" marR="0" lvl="0" indent="-342900" algn="just" defTabSz="457200" rtl="0" eaLnBrk="1" fontAlgn="auto" latinLnBrk="0" hangingPunct="1">
              <a:lnSpc>
                <a:spcPct val="100000"/>
              </a:lnSpc>
              <a:spcBef>
                <a:spcPts val="0"/>
              </a:spcBef>
              <a:spcAft>
                <a:spcPts val="0"/>
              </a:spcAft>
              <a:buClrTx/>
              <a:buSzTx/>
              <a:buFont typeface="Symbol" panose="05050102010706020507" pitchFamily="18" charset="2"/>
              <a:buChar char=""/>
              <a:tabLst/>
              <a:defRPr/>
            </a:pPr>
            <a:endParaRPr kumimoji="0" lang="en-GB" sz="2000" b="0" i="0" u="none" strike="noStrike" kern="1200" cap="none" spc="0" normalizeH="0" baseline="0" noProof="0" dirty="0">
              <a:ln>
                <a:noFill/>
              </a:ln>
              <a:solidFill>
                <a:srgbClr val="454545"/>
              </a:solidFill>
              <a:effectLst/>
              <a:uLnTx/>
              <a:uFillTx/>
              <a:latin typeface="Arial" panose="020B0604020202020204"/>
              <a:ea typeface="+mn-ea"/>
              <a:cs typeface="+mn-cs"/>
            </a:endParaRPr>
          </a:p>
          <a:p>
            <a:pPr marL="342900" marR="0" lvl="0" indent="-342900" algn="just" defTabSz="4572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GB" sz="2000" b="0" i="0" u="none" strike="noStrike" kern="1200" cap="none" spc="0" normalizeH="0" baseline="0" noProof="0" dirty="0">
                <a:ln>
                  <a:noFill/>
                </a:ln>
                <a:solidFill>
                  <a:srgbClr val="454545"/>
                </a:solidFill>
                <a:effectLst/>
                <a:uLnTx/>
                <a:uFillTx/>
                <a:latin typeface="Arial" panose="020B0604020202020204"/>
                <a:ea typeface="+mn-ea"/>
                <a:cs typeface="+mn-cs"/>
              </a:rPr>
              <a:t>Consider the impacts on Generators, Suppliers and Consumers of deferring the additional BSUoS costs above the cap to the 2022/23 Charging year</a:t>
            </a:r>
          </a:p>
          <a:p>
            <a:pPr marL="342900" marR="0" lvl="0" indent="-342900" algn="just" defTabSz="457200" rtl="0" eaLnBrk="1" fontAlgn="auto" latinLnBrk="0" hangingPunct="1">
              <a:lnSpc>
                <a:spcPct val="100000"/>
              </a:lnSpc>
              <a:spcBef>
                <a:spcPts val="0"/>
              </a:spcBef>
              <a:spcAft>
                <a:spcPts val="0"/>
              </a:spcAft>
              <a:buClrTx/>
              <a:buSzTx/>
              <a:buFont typeface="Symbol" panose="05050102010706020507" pitchFamily="18" charset="2"/>
              <a:buChar char=""/>
              <a:tabLst/>
              <a:defRPr/>
            </a:pPr>
            <a:endParaRPr kumimoji="0" lang="en-GB" sz="2000" b="0" i="0" u="none" strike="noStrike" kern="1200" cap="none" spc="0" normalizeH="0" baseline="0" noProof="0" dirty="0">
              <a:ln>
                <a:noFill/>
              </a:ln>
              <a:solidFill>
                <a:srgbClr val="454545"/>
              </a:solidFill>
              <a:effectLst/>
              <a:uLnTx/>
              <a:uFillTx/>
              <a:latin typeface="Arial" panose="020B0604020202020204"/>
              <a:ea typeface="+mn-ea"/>
              <a:cs typeface="+mn-cs"/>
            </a:endParaRPr>
          </a:p>
          <a:p>
            <a:pPr marL="342900" marR="0" lvl="0" indent="-342900" algn="just" defTabSz="4572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GB" sz="2000" b="0" i="0" u="none" strike="noStrike" kern="1200" cap="none" spc="0" normalizeH="0" baseline="0" noProof="0" dirty="0">
                <a:ln>
                  <a:noFill/>
                </a:ln>
                <a:solidFill>
                  <a:srgbClr val="454545"/>
                </a:solidFill>
                <a:effectLst/>
                <a:uLnTx/>
                <a:uFillTx/>
                <a:latin typeface="Arial" panose="020B0604020202020204"/>
                <a:ea typeface="+mn-ea"/>
                <a:cs typeface="+mn-cs"/>
              </a:rPr>
              <a:t>Consider the limit on the total BSUoS costs that would be deferred</a:t>
            </a:r>
            <a:endParaRPr kumimoji="0" lang="en-GB" sz="2000" b="0" i="0" u="none" strike="noStrike" kern="1200" cap="none" spc="0" normalizeH="0" baseline="0" noProof="0" dirty="0">
              <a:ln>
                <a:noFill/>
              </a:ln>
              <a:solidFill>
                <a:srgbClr val="454545"/>
              </a:solidFill>
              <a:effectLst/>
              <a:uLnTx/>
              <a:uFillTx/>
              <a:latin typeface="Arial" panose="020B0604020202020204"/>
              <a:ea typeface="Calibri" panose="020F0502020204030204" pitchFamily="34" charset="0"/>
              <a:cs typeface="+mn-cs"/>
            </a:endParaRPr>
          </a:p>
          <a:p>
            <a:pPr marL="342900" marR="0" lvl="0" indent="-342900" algn="just" defTabSz="457200" rtl="0" eaLnBrk="1" fontAlgn="auto" latinLnBrk="0" hangingPunct="1">
              <a:lnSpc>
                <a:spcPct val="100000"/>
              </a:lnSpc>
              <a:spcBef>
                <a:spcPts val="0"/>
              </a:spcBef>
              <a:spcAft>
                <a:spcPts val="0"/>
              </a:spcAft>
              <a:buClrTx/>
              <a:buSzTx/>
              <a:buFont typeface="Symbol" panose="05050102010706020507" pitchFamily="18" charset="2"/>
              <a:buChar char=""/>
              <a:tabLst/>
              <a:defRPr/>
            </a:pPr>
            <a:endParaRPr kumimoji="0" lang="en-GB" sz="2000" b="0" i="0" u="none" strike="noStrike" kern="1200" cap="none" spc="0" normalizeH="0" baseline="0" noProof="0" dirty="0">
              <a:ln>
                <a:noFill/>
              </a:ln>
              <a:solidFill>
                <a:srgbClr val="454545"/>
              </a:solidFill>
              <a:effectLst/>
              <a:uLnTx/>
              <a:uFillTx/>
              <a:latin typeface="Arial" panose="020B0604020202020204"/>
              <a:ea typeface="Calibri" panose="020F0502020204030204" pitchFamily="34" charset="0"/>
              <a:cs typeface="+mn-cs"/>
            </a:endParaRPr>
          </a:p>
          <a:p>
            <a:pPr marL="342900" marR="0" lvl="0" indent="-342900" algn="just" defTabSz="4572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GB" sz="2000" b="0" i="0" u="none" strike="noStrike" kern="1200" cap="none" spc="0" normalizeH="0" baseline="0" noProof="0" dirty="0">
                <a:ln>
                  <a:noFill/>
                </a:ln>
                <a:solidFill>
                  <a:srgbClr val="454545"/>
                </a:solidFill>
                <a:effectLst/>
                <a:uLnTx/>
                <a:uFillTx/>
                <a:latin typeface="Arial" panose="020B0604020202020204"/>
                <a:ea typeface="Calibri" panose="020F0502020204030204" pitchFamily="34" charset="0"/>
                <a:cs typeface="+mn-cs"/>
              </a:rPr>
              <a:t>Confirm there is no interaction with other in-flight Modifications</a:t>
            </a:r>
          </a:p>
          <a:p>
            <a:pPr marL="342900" marR="0" lvl="0" indent="-342900" algn="just" defTabSz="457200" rtl="0" eaLnBrk="1" fontAlgn="auto" latinLnBrk="0" hangingPunct="1">
              <a:lnSpc>
                <a:spcPct val="100000"/>
              </a:lnSpc>
              <a:spcBef>
                <a:spcPts val="0"/>
              </a:spcBef>
              <a:spcAft>
                <a:spcPts val="0"/>
              </a:spcAft>
              <a:buClrTx/>
              <a:buSzTx/>
              <a:buFont typeface="Symbol" panose="05050102010706020507" pitchFamily="18" charset="2"/>
              <a:buChar char=""/>
              <a:tabLst/>
              <a:defRPr/>
            </a:pPr>
            <a:endParaRPr kumimoji="0" lang="en-GB" sz="2000" b="0" i="0" u="none" strike="noStrike" kern="1200" cap="none" spc="0" normalizeH="0" baseline="0" noProof="0" dirty="0">
              <a:ln>
                <a:noFill/>
              </a:ln>
              <a:solidFill>
                <a:srgbClr val="454545"/>
              </a:solidFill>
              <a:effectLst/>
              <a:uLnTx/>
              <a:uFillTx/>
              <a:latin typeface="Arial" panose="020B0604020202020204"/>
              <a:ea typeface="Calibri" panose="020F0502020204030204" pitchFamily="34" charset="0"/>
              <a:cs typeface="+mn-cs"/>
            </a:endParaRPr>
          </a:p>
          <a:p>
            <a:pPr marL="342900" marR="0" lvl="0" indent="-342900" algn="just" defTabSz="4572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GB" sz="2000" b="0" i="0" u="none" strike="noStrike" kern="1200" cap="none" spc="0" normalizeH="0" baseline="0" noProof="0" dirty="0">
                <a:ln>
                  <a:noFill/>
                </a:ln>
                <a:solidFill>
                  <a:srgbClr val="454545"/>
                </a:solidFill>
                <a:effectLst/>
                <a:uLnTx/>
                <a:uFillTx/>
                <a:latin typeface="Arial" panose="020B0604020202020204"/>
                <a:ea typeface="Calibri" panose="020F0502020204030204" pitchFamily="34" charset="0"/>
                <a:cs typeface="+mn-cs"/>
              </a:rPr>
              <a:t>Consider invoicing / billing timeline in the context of the Implementation Date</a:t>
            </a:r>
          </a:p>
        </p:txBody>
      </p:sp>
    </p:spTree>
    <p:extLst>
      <p:ext uri="{BB962C8B-B14F-4D97-AF65-F5344CB8AC3E}">
        <p14:creationId xmlns:p14="http://schemas.microsoft.com/office/powerpoint/2010/main" val="28214946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5962E1F-3E2E-4800-B746-C2585194061B}"/>
              </a:ext>
            </a:extLst>
          </p:cNvPr>
          <p:cNvSpPr>
            <a:spLocks noGrp="1"/>
          </p:cNvSpPr>
          <p:nvPr>
            <p:ph type="body" sz="quarter" idx="10"/>
          </p:nvPr>
        </p:nvSpPr>
        <p:spPr>
          <a:xfrm>
            <a:off x="1697037" y="2550524"/>
            <a:ext cx="7079317" cy="1677988"/>
          </a:xfrm>
        </p:spPr>
        <p:txBody>
          <a:bodyPr/>
          <a:lstStyle/>
          <a:p>
            <a:r>
              <a:rPr lang="en-GB" sz="1800" b="1" dirty="0">
                <a:solidFill>
                  <a:srgbClr val="0079C1"/>
                </a:solidFill>
                <a:latin typeface="Arial" panose="020B0604020202020204" pitchFamily="34" charset="0"/>
                <a:cs typeface="Arial" panose="020B0604020202020204" pitchFamily="34" charset="0"/>
              </a:rPr>
              <a:t>Simon Vicary – EDF Energy</a:t>
            </a:r>
          </a:p>
        </p:txBody>
      </p:sp>
      <p:sp>
        <p:nvSpPr>
          <p:cNvPr id="3" name="Text Placeholder 2">
            <a:extLst>
              <a:ext uri="{FF2B5EF4-FFF2-40B4-BE49-F238E27FC236}">
                <a16:creationId xmlns:a16="http://schemas.microsoft.com/office/drawing/2014/main" id="{C9BE2949-70F1-4A3B-B3AF-B6A47E266139}"/>
              </a:ext>
            </a:extLst>
          </p:cNvPr>
          <p:cNvSpPr>
            <a:spLocks noGrp="1"/>
          </p:cNvSpPr>
          <p:nvPr>
            <p:ph type="body" sz="quarter" idx="11"/>
          </p:nvPr>
        </p:nvSpPr>
        <p:spPr/>
        <p:txBody>
          <a:bodyPr/>
          <a:lstStyle/>
          <a:p>
            <a:r>
              <a:rPr lang="en-GB" b="1" dirty="0"/>
              <a:t>Proposer Slides</a:t>
            </a:r>
          </a:p>
        </p:txBody>
      </p:sp>
    </p:spTree>
    <p:extLst>
      <p:ext uri="{BB962C8B-B14F-4D97-AF65-F5344CB8AC3E}">
        <p14:creationId xmlns:p14="http://schemas.microsoft.com/office/powerpoint/2010/main" val="15099053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F65566-1970-4023-8230-87C230DE88A7}"/>
              </a:ext>
            </a:extLst>
          </p:cNvPr>
          <p:cNvSpPr>
            <a:spLocks noGrp="1"/>
          </p:cNvSpPr>
          <p:nvPr>
            <p:ph type="title"/>
          </p:nvPr>
        </p:nvSpPr>
        <p:spPr>
          <a:xfrm>
            <a:off x="313267" y="152401"/>
            <a:ext cx="11802533" cy="731921"/>
          </a:xfrm>
        </p:spPr>
        <p:txBody>
          <a:bodyPr>
            <a:normAutofit/>
          </a:bodyPr>
          <a:lstStyle/>
          <a:p>
            <a:r>
              <a:rPr lang="en-GB" sz="3200" dirty="0">
                <a:solidFill>
                  <a:schemeClr val="accent1"/>
                </a:solidFill>
              </a:rPr>
              <a:t>Defect and Urgency</a:t>
            </a:r>
          </a:p>
        </p:txBody>
      </p:sp>
      <p:sp>
        <p:nvSpPr>
          <p:cNvPr id="5" name="Slide Number Placeholder 4">
            <a:extLst>
              <a:ext uri="{FF2B5EF4-FFF2-40B4-BE49-F238E27FC236}">
                <a16:creationId xmlns:a16="http://schemas.microsoft.com/office/drawing/2014/main" id="{C3435482-E3D5-4B4D-832F-347800EABF15}"/>
              </a:ext>
            </a:extLst>
          </p:cNvPr>
          <p:cNvSpPr>
            <a:spLocks noGrp="1"/>
          </p:cNvSpPr>
          <p:nvPr>
            <p:ph type="sldNum" sz="quarter" idx="11"/>
          </p:nvPr>
        </p:nvSpPr>
        <p:spPr/>
        <p:txBody>
          <a:bodyPr/>
          <a:lstStyle/>
          <a:p>
            <a:pPr defTabSz="1219170" fontAlgn="base">
              <a:spcBef>
                <a:spcPct val="0"/>
              </a:spcBef>
              <a:spcAft>
                <a:spcPct val="0"/>
              </a:spcAft>
            </a:pPr>
            <a:fld id="{352D268D-E5DB-4D76-8C43-F544D2039CA0}" type="slidenum">
              <a:rPr lang="en-GB" altLang="en-US">
                <a:solidFill>
                  <a:prstClr val="black"/>
                </a:solidFill>
                <a:latin typeface="Frutiger LT 45 Light" panose="020B0402020204020204" pitchFamily="34" charset="0"/>
                <a:cs typeface="Arial" panose="020B0604020202020204" pitchFamily="34" charset="0"/>
              </a:rPr>
              <a:pPr defTabSz="1219170" fontAlgn="base">
                <a:spcBef>
                  <a:spcPct val="0"/>
                </a:spcBef>
                <a:spcAft>
                  <a:spcPct val="0"/>
                </a:spcAft>
              </a:pPr>
              <a:t>19</a:t>
            </a:fld>
            <a:endParaRPr lang="en-GB" altLang="en-US" dirty="0">
              <a:solidFill>
                <a:prstClr val="black"/>
              </a:solidFill>
              <a:latin typeface="Frutiger LT 45 Light" panose="020B0402020204020204" pitchFamily="34" charset="0"/>
              <a:cs typeface="Arial" panose="020B0604020202020204" pitchFamily="34" charset="0"/>
            </a:endParaRPr>
          </a:p>
        </p:txBody>
      </p:sp>
      <p:sp>
        <p:nvSpPr>
          <p:cNvPr id="8" name="Footer Placeholder 3">
            <a:extLst>
              <a:ext uri="{FF2B5EF4-FFF2-40B4-BE49-F238E27FC236}">
                <a16:creationId xmlns:a16="http://schemas.microsoft.com/office/drawing/2014/main" id="{FD42FF61-4B34-465E-9696-521FD391A684}"/>
              </a:ext>
            </a:extLst>
          </p:cNvPr>
          <p:cNvSpPr>
            <a:spLocks noGrp="1"/>
          </p:cNvSpPr>
          <p:nvPr>
            <p:ph type="ftr" sz="quarter" idx="10"/>
          </p:nvPr>
        </p:nvSpPr>
        <p:spPr>
          <a:xfrm>
            <a:off x="643199" y="6285074"/>
            <a:ext cx="8595360" cy="403225"/>
          </a:xfrm>
        </p:spPr>
        <p:txBody>
          <a:bodyPr/>
          <a:lstStyle/>
          <a:p>
            <a:pPr defTabSz="1219170"/>
            <a:r>
              <a:rPr lang="en-GB" altLang="en-US" dirty="0">
                <a:solidFill>
                  <a:prstClr val="black"/>
                </a:solidFill>
                <a:latin typeface="Frutiger LT 45 Light"/>
              </a:rPr>
              <a:t>© 2021 EDF Energy Ltd. All rights Reserved.</a:t>
            </a:r>
          </a:p>
        </p:txBody>
      </p:sp>
      <p:sp>
        <p:nvSpPr>
          <p:cNvPr id="6" name="Rectangle 5">
            <a:extLst>
              <a:ext uri="{FF2B5EF4-FFF2-40B4-BE49-F238E27FC236}">
                <a16:creationId xmlns:a16="http://schemas.microsoft.com/office/drawing/2014/main" id="{12D30733-0C6C-44F6-BBF4-D1E2F35CA634}"/>
              </a:ext>
            </a:extLst>
          </p:cNvPr>
          <p:cNvSpPr/>
          <p:nvPr/>
        </p:nvSpPr>
        <p:spPr>
          <a:xfrm>
            <a:off x="845074" y="1134753"/>
            <a:ext cx="9364007" cy="4402167"/>
          </a:xfrm>
          <a:prstGeom prst="rect">
            <a:avLst/>
          </a:prstGeom>
        </p:spPr>
        <p:txBody>
          <a:bodyPr wrap="square">
            <a:spAutoFit/>
          </a:bodyPr>
          <a:lstStyle/>
          <a:p>
            <a:pPr marL="380990" indent="-380990" defTabSz="1219170" eaLnBrk="0" fontAlgn="base" hangingPunct="0">
              <a:spcBef>
                <a:spcPct val="0"/>
              </a:spcBef>
              <a:spcAft>
                <a:spcPct val="0"/>
              </a:spcAft>
              <a:buFont typeface="Arial" panose="020B0604020202020204" pitchFamily="34" charset="0"/>
              <a:buChar char="•"/>
            </a:pPr>
            <a:r>
              <a:rPr lang="en-GB" sz="1867" dirty="0">
                <a:solidFill>
                  <a:prstClr val="black"/>
                </a:solidFill>
                <a:latin typeface="Frutiger LT 45 Light" panose="020B0402020204020204" pitchFamily="34" charset="0"/>
                <a:cs typeface="Arial" panose="020B0604020202020204" pitchFamily="34" charset="0"/>
              </a:rPr>
              <a:t>BSUoS costs are significantly higher than the ESO forecasts so far this winter, as a result of exceptional market conditions, therefore much higher than consumers and industry parties could reasonably have expected or will have budgeted for. </a:t>
            </a:r>
          </a:p>
          <a:p>
            <a:pPr marL="380990" indent="-380990" defTabSz="1219170" eaLnBrk="0" fontAlgn="base" hangingPunct="0">
              <a:spcBef>
                <a:spcPct val="0"/>
              </a:spcBef>
              <a:spcAft>
                <a:spcPct val="0"/>
              </a:spcAft>
              <a:buFont typeface="Arial" panose="020B0604020202020204" pitchFamily="34" charset="0"/>
              <a:buChar char="•"/>
            </a:pPr>
            <a:endParaRPr lang="en-GB" sz="1867" dirty="0">
              <a:solidFill>
                <a:prstClr val="black"/>
              </a:solidFill>
              <a:latin typeface="Frutiger LT 45 Light" panose="020B0402020204020204" pitchFamily="34" charset="0"/>
              <a:cs typeface="Arial" panose="020B0604020202020204" pitchFamily="34" charset="0"/>
            </a:endParaRPr>
          </a:p>
          <a:p>
            <a:pPr marL="380990" indent="-380990" defTabSz="1219170" eaLnBrk="0" fontAlgn="base" hangingPunct="0">
              <a:spcBef>
                <a:spcPct val="0"/>
              </a:spcBef>
              <a:spcAft>
                <a:spcPct val="0"/>
              </a:spcAft>
              <a:buFont typeface="Arial" panose="020B0604020202020204" pitchFamily="34" charset="0"/>
              <a:buChar char="•"/>
            </a:pPr>
            <a:r>
              <a:rPr lang="en-GB" sz="1867" dirty="0">
                <a:solidFill>
                  <a:prstClr val="black"/>
                </a:solidFill>
                <a:latin typeface="Frutiger LT 45 Light" panose="020B0402020204020204" pitchFamily="34" charset="0"/>
                <a:cs typeface="Arial" panose="020B0604020202020204" pitchFamily="34" charset="0"/>
              </a:rPr>
              <a:t>Our analysis suggests that the ESO BSUoS forecast will be inaccurate to a similar degree in Q1 2022. As a result both industry and consumers will not be prepared or able to tolerate the actual extreme prices that may outturn.</a:t>
            </a:r>
          </a:p>
          <a:p>
            <a:pPr marL="380990" indent="-380990" defTabSz="1219170" eaLnBrk="0" fontAlgn="base" hangingPunct="0">
              <a:spcBef>
                <a:spcPct val="0"/>
              </a:spcBef>
              <a:spcAft>
                <a:spcPct val="0"/>
              </a:spcAft>
              <a:buFont typeface="Arial" panose="020B0604020202020204" pitchFamily="34" charset="0"/>
              <a:buChar char="•"/>
            </a:pPr>
            <a:endParaRPr lang="en-GB" sz="1867" dirty="0">
              <a:solidFill>
                <a:prstClr val="black"/>
              </a:solidFill>
              <a:latin typeface="Frutiger LT 45 Light" panose="020B0402020204020204" pitchFamily="34" charset="0"/>
              <a:cs typeface="Arial" panose="020B0604020202020204" pitchFamily="34" charset="0"/>
            </a:endParaRPr>
          </a:p>
          <a:p>
            <a:pPr marL="380990" indent="-380990" defTabSz="1219170" eaLnBrk="0" fontAlgn="base" hangingPunct="0">
              <a:spcBef>
                <a:spcPct val="0"/>
              </a:spcBef>
              <a:spcAft>
                <a:spcPct val="0"/>
              </a:spcAft>
              <a:buFont typeface="Arial" panose="020B0604020202020204" pitchFamily="34" charset="0"/>
              <a:buChar char="•"/>
            </a:pPr>
            <a:r>
              <a:rPr lang="en-GB" sz="1867" dirty="0">
                <a:solidFill>
                  <a:prstClr val="black"/>
                </a:solidFill>
                <a:latin typeface="Frutiger LT 45 Light" panose="020B0402020204020204" pitchFamily="34" charset="0"/>
                <a:cs typeface="Arial" panose="020B0604020202020204" pitchFamily="34" charset="0"/>
              </a:rPr>
              <a:t>It is absolutely critical to protect consumers, and prevent further insolvency contagion to suppliers and generators.</a:t>
            </a:r>
          </a:p>
          <a:p>
            <a:pPr marL="380990" indent="-380990" defTabSz="1219170" eaLnBrk="0" fontAlgn="base" hangingPunct="0">
              <a:spcBef>
                <a:spcPct val="0"/>
              </a:spcBef>
              <a:spcAft>
                <a:spcPct val="0"/>
              </a:spcAft>
              <a:buFont typeface="Arial" panose="020B0604020202020204" pitchFamily="34" charset="0"/>
              <a:buChar char="•"/>
            </a:pPr>
            <a:endParaRPr lang="en-GB" sz="1867" dirty="0">
              <a:solidFill>
                <a:prstClr val="black"/>
              </a:solidFill>
              <a:latin typeface="Frutiger LT 45 Light" panose="020B0402020204020204" pitchFamily="34" charset="0"/>
              <a:cs typeface="Arial" panose="020B0604020202020204" pitchFamily="34" charset="0"/>
            </a:endParaRPr>
          </a:p>
          <a:p>
            <a:pPr marL="380990" indent="-380990" defTabSz="1219170" eaLnBrk="0" fontAlgn="base" hangingPunct="0">
              <a:spcBef>
                <a:spcPct val="0"/>
              </a:spcBef>
              <a:spcAft>
                <a:spcPct val="0"/>
              </a:spcAft>
              <a:buFont typeface="Arial" panose="020B0604020202020204" pitchFamily="34" charset="0"/>
              <a:buChar char="•"/>
            </a:pPr>
            <a:r>
              <a:rPr lang="en-GB" sz="1867" dirty="0">
                <a:solidFill>
                  <a:prstClr val="black"/>
                </a:solidFill>
                <a:latin typeface="Frutiger LT 45 Light" panose="020B0402020204020204" pitchFamily="34" charset="0"/>
                <a:cs typeface="Arial" panose="020B0604020202020204" pitchFamily="34" charset="0"/>
              </a:rPr>
              <a:t>We believe this proposal will have a positive impact on consumers as it spreads the recovery of a portion of the exceptional BSUoS costs over a longer period, providing time for consumers to budget for these exceptional costs at a time of already extreme power prices.</a:t>
            </a:r>
          </a:p>
        </p:txBody>
      </p:sp>
    </p:spTree>
    <p:extLst>
      <p:ext uri="{BB962C8B-B14F-4D97-AF65-F5344CB8AC3E}">
        <p14:creationId xmlns:p14="http://schemas.microsoft.com/office/powerpoint/2010/main" val="798336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AA3D482-1954-7249-8E0B-75852F45ECAB}"/>
              </a:ext>
            </a:extLst>
          </p:cNvPr>
          <p:cNvSpPr>
            <a:spLocks noGrp="1"/>
          </p:cNvSpPr>
          <p:nvPr>
            <p:ph type="body" sz="quarter" idx="10"/>
          </p:nvPr>
        </p:nvSpPr>
        <p:spPr>
          <a:xfrm>
            <a:off x="394676" y="562048"/>
            <a:ext cx="4187483" cy="1014376"/>
          </a:xfrm>
        </p:spPr>
        <p:txBody>
          <a:bodyPr/>
          <a:lstStyle/>
          <a:p>
            <a:r>
              <a:rPr lang="en-US" sz="6600" dirty="0">
                <a:effectLst>
                  <a:outerShdw blurRad="50800" dist="50800" dir="5400000" algn="ctr" rotWithShape="0">
                    <a:schemeClr val="tx1"/>
                  </a:outerShdw>
                </a:effectLst>
                <a:latin typeface="+mn-lt"/>
              </a:rPr>
              <a:t>WELCOME</a:t>
            </a:r>
          </a:p>
        </p:txBody>
      </p:sp>
    </p:spTree>
    <p:extLst>
      <p:ext uri="{BB962C8B-B14F-4D97-AF65-F5344CB8AC3E}">
        <p14:creationId xmlns:p14="http://schemas.microsoft.com/office/powerpoint/2010/main" val="27046669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F65566-1970-4023-8230-87C230DE88A7}"/>
              </a:ext>
            </a:extLst>
          </p:cNvPr>
          <p:cNvSpPr>
            <a:spLocks noGrp="1"/>
          </p:cNvSpPr>
          <p:nvPr>
            <p:ph type="title"/>
          </p:nvPr>
        </p:nvSpPr>
        <p:spPr>
          <a:xfrm>
            <a:off x="313267" y="152401"/>
            <a:ext cx="11802533" cy="731921"/>
          </a:xfrm>
        </p:spPr>
        <p:txBody>
          <a:bodyPr>
            <a:normAutofit/>
          </a:bodyPr>
          <a:lstStyle/>
          <a:p>
            <a:r>
              <a:rPr lang="en-GB" sz="3200" dirty="0">
                <a:solidFill>
                  <a:schemeClr val="accent1"/>
                </a:solidFill>
              </a:rPr>
              <a:t>BSUoS variance to ESO forecast</a:t>
            </a:r>
          </a:p>
        </p:txBody>
      </p:sp>
      <p:sp>
        <p:nvSpPr>
          <p:cNvPr id="5" name="Slide Number Placeholder 4">
            <a:extLst>
              <a:ext uri="{FF2B5EF4-FFF2-40B4-BE49-F238E27FC236}">
                <a16:creationId xmlns:a16="http://schemas.microsoft.com/office/drawing/2014/main" id="{C3435482-E3D5-4B4D-832F-347800EABF15}"/>
              </a:ext>
            </a:extLst>
          </p:cNvPr>
          <p:cNvSpPr>
            <a:spLocks noGrp="1"/>
          </p:cNvSpPr>
          <p:nvPr>
            <p:ph type="sldNum" sz="quarter" idx="11"/>
          </p:nvPr>
        </p:nvSpPr>
        <p:spPr/>
        <p:txBody>
          <a:bodyPr/>
          <a:lstStyle/>
          <a:p>
            <a:pPr defTabSz="1219170" fontAlgn="base">
              <a:spcBef>
                <a:spcPct val="0"/>
              </a:spcBef>
              <a:spcAft>
                <a:spcPct val="0"/>
              </a:spcAft>
            </a:pPr>
            <a:fld id="{352D268D-E5DB-4D76-8C43-F544D2039CA0}" type="slidenum">
              <a:rPr lang="en-GB" altLang="en-US">
                <a:solidFill>
                  <a:prstClr val="black"/>
                </a:solidFill>
                <a:latin typeface="Frutiger LT 45 Light" panose="020B0402020204020204" pitchFamily="34" charset="0"/>
                <a:cs typeface="Arial" panose="020B0604020202020204" pitchFamily="34" charset="0"/>
              </a:rPr>
              <a:pPr defTabSz="1219170" fontAlgn="base">
                <a:spcBef>
                  <a:spcPct val="0"/>
                </a:spcBef>
                <a:spcAft>
                  <a:spcPct val="0"/>
                </a:spcAft>
              </a:pPr>
              <a:t>20</a:t>
            </a:fld>
            <a:endParaRPr lang="en-GB" altLang="en-US" dirty="0">
              <a:solidFill>
                <a:prstClr val="black"/>
              </a:solidFill>
              <a:latin typeface="Frutiger LT 45 Light" panose="020B0402020204020204" pitchFamily="34" charset="0"/>
              <a:cs typeface="Arial" panose="020B0604020202020204" pitchFamily="34" charset="0"/>
            </a:endParaRPr>
          </a:p>
        </p:txBody>
      </p:sp>
      <p:sp>
        <p:nvSpPr>
          <p:cNvPr id="8" name="Footer Placeholder 3">
            <a:extLst>
              <a:ext uri="{FF2B5EF4-FFF2-40B4-BE49-F238E27FC236}">
                <a16:creationId xmlns:a16="http://schemas.microsoft.com/office/drawing/2014/main" id="{FD42FF61-4B34-465E-9696-521FD391A684}"/>
              </a:ext>
            </a:extLst>
          </p:cNvPr>
          <p:cNvSpPr>
            <a:spLocks noGrp="1"/>
          </p:cNvSpPr>
          <p:nvPr>
            <p:ph type="ftr" sz="quarter" idx="10"/>
          </p:nvPr>
        </p:nvSpPr>
        <p:spPr>
          <a:xfrm>
            <a:off x="643199" y="6285074"/>
            <a:ext cx="8595360" cy="403225"/>
          </a:xfrm>
        </p:spPr>
        <p:txBody>
          <a:bodyPr/>
          <a:lstStyle/>
          <a:p>
            <a:pPr defTabSz="1219170"/>
            <a:r>
              <a:rPr lang="en-GB" altLang="en-US" dirty="0">
                <a:solidFill>
                  <a:prstClr val="black"/>
                </a:solidFill>
                <a:latin typeface="Frutiger LT 45 Light"/>
              </a:rPr>
              <a:t>© 2021 EDF Energy Ltd. All rights Reserved.</a:t>
            </a:r>
          </a:p>
        </p:txBody>
      </p:sp>
      <p:pic>
        <p:nvPicPr>
          <p:cNvPr id="3" name="Picture 2">
            <a:extLst>
              <a:ext uri="{FF2B5EF4-FFF2-40B4-BE49-F238E27FC236}">
                <a16:creationId xmlns:a16="http://schemas.microsoft.com/office/drawing/2014/main" id="{7A689F21-BB90-4402-9ADF-700DA9BEBCEB}"/>
              </a:ext>
            </a:extLst>
          </p:cNvPr>
          <p:cNvPicPr>
            <a:picLocks noChangeAspect="1"/>
          </p:cNvPicPr>
          <p:nvPr/>
        </p:nvPicPr>
        <p:blipFill>
          <a:blip r:embed="rId3"/>
          <a:stretch>
            <a:fillRect/>
          </a:stretch>
        </p:blipFill>
        <p:spPr>
          <a:xfrm>
            <a:off x="1906721" y="2124667"/>
            <a:ext cx="7081495" cy="3590717"/>
          </a:xfrm>
          <a:prstGeom prst="rect">
            <a:avLst/>
          </a:prstGeom>
        </p:spPr>
      </p:pic>
      <p:sp>
        <p:nvSpPr>
          <p:cNvPr id="6" name="Rectangle 5">
            <a:extLst>
              <a:ext uri="{FF2B5EF4-FFF2-40B4-BE49-F238E27FC236}">
                <a16:creationId xmlns:a16="http://schemas.microsoft.com/office/drawing/2014/main" id="{2B3FCD95-86D7-4395-9B70-90E957C992DC}"/>
              </a:ext>
            </a:extLst>
          </p:cNvPr>
          <p:cNvSpPr/>
          <p:nvPr/>
        </p:nvSpPr>
        <p:spPr>
          <a:xfrm>
            <a:off x="921274" y="1300041"/>
            <a:ext cx="9364007" cy="666977"/>
          </a:xfrm>
          <a:prstGeom prst="rect">
            <a:avLst/>
          </a:prstGeom>
        </p:spPr>
        <p:txBody>
          <a:bodyPr wrap="square">
            <a:spAutoFit/>
          </a:bodyPr>
          <a:lstStyle/>
          <a:p>
            <a:pPr defTabSz="1219170" eaLnBrk="0" fontAlgn="base" hangingPunct="0">
              <a:spcBef>
                <a:spcPct val="0"/>
              </a:spcBef>
              <a:spcAft>
                <a:spcPct val="0"/>
              </a:spcAft>
            </a:pPr>
            <a:r>
              <a:rPr lang="en-GB" sz="1867" dirty="0">
                <a:solidFill>
                  <a:prstClr val="black"/>
                </a:solidFill>
                <a:latin typeface="Frutiger LT 45 Light" panose="020B0402020204020204" pitchFamily="34" charset="0"/>
                <a:cs typeface="Arial" panose="020B0604020202020204" pitchFamily="34" charset="0"/>
              </a:rPr>
              <a:t>The chart below shows the recent variance to the ESO BSUoS forecast, with the outturn being £625m higher across the last 4 months. </a:t>
            </a:r>
          </a:p>
        </p:txBody>
      </p:sp>
    </p:spTree>
    <p:extLst>
      <p:ext uri="{BB962C8B-B14F-4D97-AF65-F5344CB8AC3E}">
        <p14:creationId xmlns:p14="http://schemas.microsoft.com/office/powerpoint/2010/main" val="34903890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F65566-1970-4023-8230-87C230DE88A7}"/>
              </a:ext>
            </a:extLst>
          </p:cNvPr>
          <p:cNvSpPr>
            <a:spLocks noGrp="1"/>
          </p:cNvSpPr>
          <p:nvPr>
            <p:ph type="title"/>
          </p:nvPr>
        </p:nvSpPr>
        <p:spPr>
          <a:xfrm>
            <a:off x="313267" y="152401"/>
            <a:ext cx="11802533" cy="731921"/>
          </a:xfrm>
        </p:spPr>
        <p:txBody>
          <a:bodyPr>
            <a:normAutofit/>
          </a:bodyPr>
          <a:lstStyle/>
          <a:p>
            <a:r>
              <a:rPr lang="en-GB" sz="3200" dirty="0">
                <a:solidFill>
                  <a:schemeClr val="accent1"/>
                </a:solidFill>
              </a:rPr>
              <a:t>Proposed Solution</a:t>
            </a:r>
          </a:p>
        </p:txBody>
      </p:sp>
      <p:sp>
        <p:nvSpPr>
          <p:cNvPr id="5" name="Slide Number Placeholder 4">
            <a:extLst>
              <a:ext uri="{FF2B5EF4-FFF2-40B4-BE49-F238E27FC236}">
                <a16:creationId xmlns:a16="http://schemas.microsoft.com/office/drawing/2014/main" id="{C3435482-E3D5-4B4D-832F-347800EABF15}"/>
              </a:ext>
            </a:extLst>
          </p:cNvPr>
          <p:cNvSpPr>
            <a:spLocks noGrp="1"/>
          </p:cNvSpPr>
          <p:nvPr>
            <p:ph type="sldNum" sz="quarter" idx="11"/>
          </p:nvPr>
        </p:nvSpPr>
        <p:spPr/>
        <p:txBody>
          <a:bodyPr/>
          <a:lstStyle/>
          <a:p>
            <a:pPr defTabSz="1219170" fontAlgn="base">
              <a:spcBef>
                <a:spcPct val="0"/>
              </a:spcBef>
              <a:spcAft>
                <a:spcPct val="0"/>
              </a:spcAft>
            </a:pPr>
            <a:fld id="{352D268D-E5DB-4D76-8C43-F544D2039CA0}" type="slidenum">
              <a:rPr lang="en-GB" altLang="en-US">
                <a:solidFill>
                  <a:prstClr val="black"/>
                </a:solidFill>
                <a:latin typeface="Frutiger LT 45 Light" panose="020B0402020204020204" pitchFamily="34" charset="0"/>
                <a:cs typeface="Arial" panose="020B0604020202020204" pitchFamily="34" charset="0"/>
              </a:rPr>
              <a:pPr defTabSz="1219170" fontAlgn="base">
                <a:spcBef>
                  <a:spcPct val="0"/>
                </a:spcBef>
                <a:spcAft>
                  <a:spcPct val="0"/>
                </a:spcAft>
              </a:pPr>
              <a:t>21</a:t>
            </a:fld>
            <a:endParaRPr lang="en-GB" altLang="en-US" dirty="0">
              <a:solidFill>
                <a:prstClr val="black"/>
              </a:solidFill>
              <a:latin typeface="Frutiger LT 45 Light" panose="020B0402020204020204" pitchFamily="34" charset="0"/>
              <a:cs typeface="Arial" panose="020B0604020202020204" pitchFamily="34" charset="0"/>
            </a:endParaRPr>
          </a:p>
        </p:txBody>
      </p:sp>
      <p:sp>
        <p:nvSpPr>
          <p:cNvPr id="8" name="Footer Placeholder 3">
            <a:extLst>
              <a:ext uri="{FF2B5EF4-FFF2-40B4-BE49-F238E27FC236}">
                <a16:creationId xmlns:a16="http://schemas.microsoft.com/office/drawing/2014/main" id="{FD42FF61-4B34-465E-9696-521FD391A684}"/>
              </a:ext>
            </a:extLst>
          </p:cNvPr>
          <p:cNvSpPr>
            <a:spLocks noGrp="1"/>
          </p:cNvSpPr>
          <p:nvPr>
            <p:ph type="ftr" sz="quarter" idx="10"/>
          </p:nvPr>
        </p:nvSpPr>
        <p:spPr>
          <a:xfrm>
            <a:off x="643199" y="6285074"/>
            <a:ext cx="8595360" cy="403225"/>
          </a:xfrm>
        </p:spPr>
        <p:txBody>
          <a:bodyPr/>
          <a:lstStyle/>
          <a:p>
            <a:pPr defTabSz="1219170"/>
            <a:r>
              <a:rPr lang="en-GB" altLang="en-US" dirty="0">
                <a:solidFill>
                  <a:prstClr val="black"/>
                </a:solidFill>
                <a:latin typeface="Frutiger LT 45 Light"/>
              </a:rPr>
              <a:t>© 2021 EDF Energy Ltd. All rights Reserved.</a:t>
            </a:r>
          </a:p>
        </p:txBody>
      </p:sp>
      <p:sp>
        <p:nvSpPr>
          <p:cNvPr id="6" name="Rectangle 5">
            <a:extLst>
              <a:ext uri="{FF2B5EF4-FFF2-40B4-BE49-F238E27FC236}">
                <a16:creationId xmlns:a16="http://schemas.microsoft.com/office/drawing/2014/main" id="{12D30733-0C6C-44F6-BBF4-D1E2F35CA634}"/>
              </a:ext>
            </a:extLst>
          </p:cNvPr>
          <p:cNvSpPr/>
          <p:nvPr/>
        </p:nvSpPr>
        <p:spPr>
          <a:xfrm>
            <a:off x="845074" y="1134753"/>
            <a:ext cx="9364007" cy="4976812"/>
          </a:xfrm>
          <a:prstGeom prst="rect">
            <a:avLst/>
          </a:prstGeom>
        </p:spPr>
        <p:txBody>
          <a:bodyPr wrap="square">
            <a:spAutoFit/>
          </a:bodyPr>
          <a:lstStyle/>
          <a:p>
            <a:pPr marL="380990" indent="-380990" defTabSz="1219170" eaLnBrk="0" fontAlgn="base" hangingPunct="0">
              <a:spcBef>
                <a:spcPct val="0"/>
              </a:spcBef>
              <a:spcAft>
                <a:spcPct val="0"/>
              </a:spcAft>
              <a:buFont typeface="Arial" panose="020B0604020202020204" pitchFamily="34" charset="0"/>
              <a:buChar char="•"/>
            </a:pPr>
            <a:r>
              <a:rPr lang="en-GB" sz="1867" dirty="0">
                <a:solidFill>
                  <a:prstClr val="black"/>
                </a:solidFill>
                <a:latin typeface="Frutiger LT 45 Light" panose="020B0402020204020204" pitchFamily="34" charset="0"/>
                <a:cs typeface="Arial" panose="020B0604020202020204" pitchFamily="34" charset="0"/>
              </a:rPr>
              <a:t>To protect consumers, and prevent further insolvency contagion to suppliers and generators in Q1 2022:</a:t>
            </a:r>
          </a:p>
          <a:p>
            <a:pPr marL="990575" lvl="1" indent="-380990" defTabSz="1219170" eaLnBrk="0" fontAlgn="base" hangingPunct="0">
              <a:spcBef>
                <a:spcPct val="0"/>
              </a:spcBef>
              <a:spcAft>
                <a:spcPct val="0"/>
              </a:spcAft>
              <a:buFont typeface="Arial" panose="020B0604020202020204" pitchFamily="34" charset="0"/>
              <a:buChar char="•"/>
            </a:pPr>
            <a:r>
              <a:rPr lang="en-GB" sz="1867" dirty="0">
                <a:solidFill>
                  <a:prstClr val="black"/>
                </a:solidFill>
                <a:latin typeface="Frutiger LT 45 Light" panose="020B0402020204020204" pitchFamily="34" charset="0"/>
                <a:cs typeface="Arial" panose="020B0604020202020204" pitchFamily="34" charset="0"/>
              </a:rPr>
              <a:t>a half-hourly £10/MWh cap should be put in place (as for CMP350)</a:t>
            </a:r>
          </a:p>
          <a:p>
            <a:pPr marL="990575" lvl="1" indent="-380990" defTabSz="1219170" eaLnBrk="0" fontAlgn="base" hangingPunct="0">
              <a:spcBef>
                <a:spcPct val="0"/>
              </a:spcBef>
              <a:spcAft>
                <a:spcPct val="0"/>
              </a:spcAft>
              <a:buFont typeface="Arial" panose="020B0604020202020204" pitchFamily="34" charset="0"/>
              <a:buChar char="•"/>
            </a:pPr>
            <a:r>
              <a:rPr lang="en-GB" sz="1867" dirty="0">
                <a:solidFill>
                  <a:prstClr val="black"/>
                </a:solidFill>
                <a:latin typeface="Frutiger LT 45 Light" panose="020B0402020204020204" pitchFamily="34" charset="0"/>
                <a:cs typeface="Arial" panose="020B0604020202020204" pitchFamily="34" charset="0"/>
              </a:rPr>
              <a:t>additional BSUoS costs above the cap would be deferred to the 2022/23 charging year</a:t>
            </a:r>
          </a:p>
          <a:p>
            <a:pPr marL="990575" lvl="1" indent="-380990" defTabSz="1219170" eaLnBrk="0" fontAlgn="base" hangingPunct="0">
              <a:spcBef>
                <a:spcPct val="0"/>
              </a:spcBef>
              <a:spcAft>
                <a:spcPct val="0"/>
              </a:spcAft>
              <a:buFont typeface="Arial" panose="020B0604020202020204" pitchFamily="34" charset="0"/>
              <a:buChar char="•"/>
            </a:pPr>
            <a:r>
              <a:rPr lang="en-GB" sz="1867" dirty="0">
                <a:solidFill>
                  <a:prstClr val="black"/>
                </a:solidFill>
                <a:latin typeface="Frutiger LT 45 Light" panose="020B0402020204020204" pitchFamily="34" charset="0"/>
                <a:cs typeface="Arial" panose="020B0604020202020204" pitchFamily="34" charset="0"/>
              </a:rPr>
              <a:t>the total costs which can be deferred are to be limited to £300m (which effectively means the impact of the inaccuracy of forecast is being shared across ESO and industry)</a:t>
            </a:r>
          </a:p>
          <a:p>
            <a:pPr marL="990575" lvl="1" indent="-380990" defTabSz="1219170" eaLnBrk="0" fontAlgn="base" hangingPunct="0">
              <a:spcBef>
                <a:spcPct val="0"/>
              </a:spcBef>
              <a:spcAft>
                <a:spcPct val="0"/>
              </a:spcAft>
              <a:buFont typeface="Arial" panose="020B0604020202020204" pitchFamily="34" charset="0"/>
              <a:buChar char="•"/>
            </a:pPr>
            <a:r>
              <a:rPr lang="en-GB" sz="1867" dirty="0">
                <a:solidFill>
                  <a:prstClr val="black"/>
                </a:solidFill>
                <a:latin typeface="Frutiger LT 45 Light" panose="020B0402020204020204" pitchFamily="34" charset="0"/>
                <a:cs typeface="Arial" panose="020B0604020202020204" pitchFamily="34" charset="0"/>
              </a:rPr>
              <a:t>we are seeking implementation with effect from 1</a:t>
            </a:r>
            <a:r>
              <a:rPr lang="en-GB" sz="1867" baseline="30000" dirty="0">
                <a:solidFill>
                  <a:prstClr val="black"/>
                </a:solidFill>
                <a:latin typeface="Frutiger LT 45 Light" panose="020B0402020204020204" pitchFamily="34" charset="0"/>
                <a:cs typeface="Arial" panose="020B0604020202020204" pitchFamily="34" charset="0"/>
              </a:rPr>
              <a:t>st</a:t>
            </a:r>
            <a:r>
              <a:rPr lang="en-GB" sz="1867" dirty="0">
                <a:solidFill>
                  <a:prstClr val="black"/>
                </a:solidFill>
                <a:latin typeface="Frutiger LT 45 Light" panose="020B0402020204020204" pitchFamily="34" charset="0"/>
                <a:cs typeface="Arial" panose="020B0604020202020204" pitchFamily="34" charset="0"/>
              </a:rPr>
              <a:t> January 2022</a:t>
            </a:r>
          </a:p>
          <a:p>
            <a:pPr marL="609585" lvl="1" defTabSz="1219170" eaLnBrk="0" fontAlgn="base" hangingPunct="0">
              <a:spcBef>
                <a:spcPct val="0"/>
              </a:spcBef>
              <a:spcAft>
                <a:spcPct val="0"/>
              </a:spcAft>
            </a:pPr>
            <a:endParaRPr lang="en-GB" sz="1867" dirty="0">
              <a:solidFill>
                <a:prstClr val="black"/>
              </a:solidFill>
              <a:latin typeface="Frutiger LT 45 Light" panose="020B0402020204020204" pitchFamily="34" charset="0"/>
              <a:cs typeface="Arial" panose="020B0604020202020204" pitchFamily="34" charset="0"/>
            </a:endParaRPr>
          </a:p>
          <a:p>
            <a:pPr marL="380990" indent="-380990" defTabSz="1219170" eaLnBrk="0" fontAlgn="base" hangingPunct="0">
              <a:spcBef>
                <a:spcPct val="0"/>
              </a:spcBef>
              <a:spcAft>
                <a:spcPct val="0"/>
              </a:spcAft>
              <a:buFont typeface="Arial" panose="020B0604020202020204" pitchFamily="34" charset="0"/>
              <a:buChar char="•"/>
            </a:pPr>
            <a:r>
              <a:rPr lang="en-GB" sz="1867" dirty="0">
                <a:solidFill>
                  <a:prstClr val="black"/>
                </a:solidFill>
                <a:latin typeface="Frutiger LT 45 Light" panose="020B0402020204020204" pitchFamily="34" charset="0"/>
                <a:cs typeface="Arial" panose="020B0604020202020204" pitchFamily="34" charset="0"/>
              </a:rPr>
              <a:t>This is consistent with the mechanism approved under CMP345 and CMP350 to protect against extreme BSUoS costs in 2020 due to COVID. </a:t>
            </a:r>
          </a:p>
          <a:p>
            <a:pPr marL="990575" lvl="1" indent="-380990" defTabSz="1219170" eaLnBrk="0" fontAlgn="base" hangingPunct="0">
              <a:spcBef>
                <a:spcPct val="0"/>
              </a:spcBef>
              <a:spcAft>
                <a:spcPct val="0"/>
              </a:spcAft>
              <a:buFont typeface="Arial" panose="020B0604020202020204" pitchFamily="34" charset="0"/>
              <a:buChar char="•"/>
            </a:pPr>
            <a:r>
              <a:rPr lang="en-GB" sz="1867" dirty="0">
                <a:solidFill>
                  <a:prstClr val="black"/>
                </a:solidFill>
                <a:latin typeface="Frutiger LT 45 Light" panose="020B0402020204020204" pitchFamily="34" charset="0"/>
                <a:cs typeface="Arial" panose="020B0604020202020204" pitchFamily="34" charset="0"/>
              </a:rPr>
              <a:t>This means minimal, if any, system impact as the change can use the existing processes.</a:t>
            </a:r>
          </a:p>
          <a:p>
            <a:pPr marL="990575" lvl="1" indent="-380990" defTabSz="1219170" eaLnBrk="0" fontAlgn="base" hangingPunct="0">
              <a:spcBef>
                <a:spcPct val="0"/>
              </a:spcBef>
              <a:spcAft>
                <a:spcPct val="0"/>
              </a:spcAft>
              <a:buFont typeface="Arial" panose="020B0604020202020204" pitchFamily="34" charset="0"/>
              <a:buChar char="•"/>
            </a:pPr>
            <a:r>
              <a:rPr lang="en-GB" sz="1867" dirty="0">
                <a:solidFill>
                  <a:prstClr val="black"/>
                </a:solidFill>
                <a:latin typeface="Frutiger LT 45 Light" panose="020B0402020204020204" pitchFamily="34" charset="0"/>
                <a:cs typeface="Arial" panose="020B0604020202020204" pitchFamily="34" charset="0"/>
              </a:rPr>
              <a:t>The legal text required is also established.</a:t>
            </a:r>
          </a:p>
          <a:p>
            <a:pPr marL="380990" indent="-380990" defTabSz="1219170" eaLnBrk="0" fontAlgn="base" hangingPunct="0">
              <a:spcBef>
                <a:spcPct val="0"/>
              </a:spcBef>
              <a:spcAft>
                <a:spcPct val="0"/>
              </a:spcAft>
              <a:buFont typeface="Arial" panose="020B0604020202020204" pitchFamily="34" charset="0"/>
              <a:buChar char="•"/>
            </a:pPr>
            <a:endParaRPr lang="en-GB" sz="1867" dirty="0">
              <a:solidFill>
                <a:prstClr val="black"/>
              </a:solidFill>
              <a:latin typeface="Frutiger LT 45 Light" panose="020B0402020204020204" pitchFamily="34" charset="0"/>
              <a:cs typeface="Arial" panose="020B0604020202020204" pitchFamily="34" charset="0"/>
            </a:endParaRPr>
          </a:p>
          <a:p>
            <a:pPr marL="380990" indent="-380990" defTabSz="1219170" eaLnBrk="0" fontAlgn="base" hangingPunct="0">
              <a:spcBef>
                <a:spcPct val="0"/>
              </a:spcBef>
              <a:spcAft>
                <a:spcPct val="0"/>
              </a:spcAft>
              <a:buFont typeface="Arial" panose="020B0604020202020204" pitchFamily="34" charset="0"/>
              <a:buChar char="•"/>
            </a:pPr>
            <a:endParaRPr lang="en-GB" sz="1867" dirty="0">
              <a:solidFill>
                <a:prstClr val="black"/>
              </a:solidFill>
              <a:latin typeface="Frutiger LT 45 Light" panose="020B0402020204020204" pitchFamily="34" charset="0"/>
              <a:cs typeface="Arial" panose="020B0604020202020204" pitchFamily="34" charset="0"/>
            </a:endParaRPr>
          </a:p>
        </p:txBody>
      </p:sp>
    </p:spTree>
    <p:extLst>
      <p:ext uri="{BB962C8B-B14F-4D97-AF65-F5344CB8AC3E}">
        <p14:creationId xmlns:p14="http://schemas.microsoft.com/office/powerpoint/2010/main" val="38152234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5962E1F-3E2E-4800-B746-C2585194061B}"/>
              </a:ext>
            </a:extLst>
          </p:cNvPr>
          <p:cNvSpPr>
            <a:spLocks noGrp="1"/>
          </p:cNvSpPr>
          <p:nvPr>
            <p:ph type="body" sz="quarter" idx="10"/>
          </p:nvPr>
        </p:nvSpPr>
        <p:spPr>
          <a:xfrm>
            <a:off x="1697036" y="2985421"/>
            <a:ext cx="7079317" cy="1677988"/>
          </a:xfrm>
        </p:spPr>
        <p:txBody>
          <a:bodyPr/>
          <a:lstStyle/>
          <a:p>
            <a:r>
              <a:rPr lang="en-GB" sz="1800" b="1" dirty="0">
                <a:solidFill>
                  <a:srgbClr val="0079C1"/>
                </a:solidFill>
                <a:latin typeface="Arial" panose="020B0604020202020204" pitchFamily="34" charset="0"/>
                <a:cs typeface="Arial" panose="020B0604020202020204" pitchFamily="34" charset="0"/>
              </a:rPr>
              <a:t>Jenny Doherty – National Grid ESO</a:t>
            </a:r>
          </a:p>
        </p:txBody>
      </p:sp>
      <p:sp>
        <p:nvSpPr>
          <p:cNvPr id="3" name="Text Placeholder 2">
            <a:extLst>
              <a:ext uri="{FF2B5EF4-FFF2-40B4-BE49-F238E27FC236}">
                <a16:creationId xmlns:a16="http://schemas.microsoft.com/office/drawing/2014/main" id="{C9BE2949-70F1-4A3B-B3AF-B6A47E266139}"/>
              </a:ext>
            </a:extLst>
          </p:cNvPr>
          <p:cNvSpPr>
            <a:spLocks noGrp="1"/>
          </p:cNvSpPr>
          <p:nvPr>
            <p:ph type="body" sz="quarter" idx="11"/>
          </p:nvPr>
        </p:nvSpPr>
        <p:spPr>
          <a:xfrm>
            <a:off x="1697035" y="1569884"/>
            <a:ext cx="7079318" cy="1549353"/>
          </a:xfrm>
        </p:spPr>
        <p:txBody>
          <a:bodyPr/>
          <a:lstStyle/>
          <a:p>
            <a:r>
              <a:rPr lang="en-GB" b="1" dirty="0"/>
              <a:t>ESO thoughts and analysis</a:t>
            </a:r>
          </a:p>
        </p:txBody>
      </p:sp>
    </p:spTree>
    <p:extLst>
      <p:ext uri="{BB962C8B-B14F-4D97-AF65-F5344CB8AC3E}">
        <p14:creationId xmlns:p14="http://schemas.microsoft.com/office/powerpoint/2010/main" val="38385044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13A2F04-1A87-49DB-B04D-CEA6AE49E6BC}"/>
              </a:ext>
            </a:extLst>
          </p:cNvPr>
          <p:cNvSpPr>
            <a:spLocks noGrp="1"/>
          </p:cNvSpPr>
          <p:nvPr>
            <p:ph type="body" sz="quarter" idx="11"/>
          </p:nvPr>
        </p:nvSpPr>
        <p:spPr>
          <a:xfrm>
            <a:off x="1697037" y="2583865"/>
            <a:ext cx="7857929" cy="1227137"/>
          </a:xfrm>
        </p:spPr>
        <p:txBody>
          <a:bodyPr/>
          <a:lstStyle/>
          <a:p>
            <a:r>
              <a:rPr lang="en-GB" dirty="0"/>
              <a:t>CMP381 – ESO overview </a:t>
            </a:r>
          </a:p>
        </p:txBody>
      </p:sp>
    </p:spTree>
    <p:extLst>
      <p:ext uri="{BB962C8B-B14F-4D97-AF65-F5344CB8AC3E}">
        <p14:creationId xmlns:p14="http://schemas.microsoft.com/office/powerpoint/2010/main" val="29440847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7592A8-8B46-4557-A3B3-11C16D055F7D}"/>
              </a:ext>
            </a:extLst>
          </p:cNvPr>
          <p:cNvSpPr>
            <a:spLocks noGrp="1"/>
          </p:cNvSpPr>
          <p:nvPr>
            <p:ph type="title"/>
          </p:nvPr>
        </p:nvSpPr>
        <p:spPr>
          <a:xfrm>
            <a:off x="497523" y="780175"/>
            <a:ext cx="10465003" cy="637747"/>
          </a:xfrm>
        </p:spPr>
        <p:txBody>
          <a:bodyPr/>
          <a:lstStyle/>
          <a:p>
            <a:r>
              <a:rPr lang="en-GB" dirty="0"/>
              <a:t>Overview of approach in CMP345 / 350</a:t>
            </a:r>
          </a:p>
        </p:txBody>
      </p:sp>
      <p:sp>
        <p:nvSpPr>
          <p:cNvPr id="3" name="Text Placeholder 2">
            <a:extLst>
              <a:ext uri="{FF2B5EF4-FFF2-40B4-BE49-F238E27FC236}">
                <a16:creationId xmlns:a16="http://schemas.microsoft.com/office/drawing/2014/main" id="{4B9436A1-CA92-4A2B-BBC8-A39422882BA0}"/>
              </a:ext>
            </a:extLst>
          </p:cNvPr>
          <p:cNvSpPr>
            <a:spLocks noGrp="1"/>
          </p:cNvSpPr>
          <p:nvPr>
            <p:ph type="body" sz="quarter" idx="12"/>
          </p:nvPr>
        </p:nvSpPr>
        <p:spPr>
          <a:xfrm>
            <a:off x="497522" y="2066219"/>
            <a:ext cx="11153371" cy="4108552"/>
          </a:xfrm>
        </p:spPr>
        <p:txBody>
          <a:bodyPr numCol="1"/>
          <a:lstStyle/>
          <a:p>
            <a:pPr marL="171450" indent="-171450">
              <a:buFontTx/>
              <a:buChar char="-"/>
            </a:pPr>
            <a:r>
              <a:rPr lang="en-GB" sz="1600" dirty="0">
                <a:solidFill>
                  <a:schemeClr val="tx1"/>
                </a:solidFill>
                <a:latin typeface="Arial" panose="020B0604020202020204" pitchFamily="34" charset="0"/>
                <a:cs typeface="Arial" panose="020B0604020202020204" pitchFamily="34" charset="0"/>
              </a:rPr>
              <a:t>Each settlement period between x and y date will be capped at £10/MWh. Anything above this, will be deferred until the following charging year. </a:t>
            </a:r>
          </a:p>
          <a:p>
            <a:pPr marL="171450" indent="-171450">
              <a:buFontTx/>
              <a:buChar char="-"/>
            </a:pPr>
            <a:r>
              <a:rPr lang="en-GB" sz="1600" dirty="0">
                <a:solidFill>
                  <a:schemeClr val="tx1"/>
                </a:solidFill>
                <a:latin typeface="Arial" panose="020B0604020202020204" pitchFamily="34" charset="0"/>
                <a:cs typeface="Arial" panose="020B0604020202020204" pitchFamily="34" charset="0"/>
              </a:rPr>
              <a:t>We will continue to issue invoices as normal, with credits issued for the difference once a month (shown in calendar in next slides)</a:t>
            </a:r>
          </a:p>
          <a:p>
            <a:pPr marL="171450" indent="-171450">
              <a:buFontTx/>
              <a:buChar char="-"/>
            </a:pPr>
            <a:r>
              <a:rPr lang="en-GB" sz="1600" dirty="0">
                <a:solidFill>
                  <a:schemeClr val="tx1"/>
                </a:solidFill>
                <a:latin typeface="Arial" panose="020B0604020202020204" pitchFamily="34" charset="0"/>
                <a:cs typeface="Arial" panose="020B0604020202020204" pitchFamily="34" charset="0"/>
              </a:rPr>
              <a:t>Costs for implementing the scheme are as agreed between the ESO and Ofgem</a:t>
            </a:r>
          </a:p>
          <a:p>
            <a:pPr marL="171450" indent="-171450">
              <a:buFontTx/>
              <a:buChar char="-"/>
            </a:pPr>
            <a:r>
              <a:rPr lang="en-GB" sz="1600" dirty="0">
                <a:solidFill>
                  <a:schemeClr val="tx1"/>
                </a:solidFill>
                <a:latin typeface="Arial" panose="020B0604020202020204" pitchFamily="34" charset="0"/>
                <a:cs typeface="Arial" panose="020B0604020202020204" pitchFamily="34" charset="0"/>
              </a:rPr>
              <a:t>Reporting:	</a:t>
            </a:r>
          </a:p>
          <a:p>
            <a:pPr marL="628639" lvl="1" indent="-171450">
              <a:buFontTx/>
              <a:buChar char="-"/>
            </a:pPr>
            <a:r>
              <a:rPr lang="en-GB" sz="1600" dirty="0">
                <a:solidFill>
                  <a:schemeClr val="tx1"/>
                </a:solidFill>
                <a:latin typeface="Arial" panose="020B0604020202020204" pitchFamily="34" charset="0"/>
                <a:cs typeface="Arial" panose="020B0604020202020204" pitchFamily="34" charset="0"/>
              </a:rPr>
              <a:t>The ESO will publish a weekly update on the costs which have been deferred to date</a:t>
            </a:r>
          </a:p>
          <a:p>
            <a:pPr marL="628639" lvl="1" indent="-171450">
              <a:buFontTx/>
              <a:buChar char="-"/>
            </a:pPr>
            <a:r>
              <a:rPr lang="en-GB" sz="1600" dirty="0">
                <a:solidFill>
                  <a:schemeClr val="tx1"/>
                </a:solidFill>
                <a:latin typeface="Arial" panose="020B0604020202020204" pitchFamily="34" charset="0"/>
                <a:cs typeface="Arial" panose="020B0604020202020204" pitchFamily="34" charset="0"/>
              </a:rPr>
              <a:t>Should 80% of the total support limit be reached, then this will be updated each working day </a:t>
            </a:r>
          </a:p>
          <a:p>
            <a:pPr marL="171450" indent="-171450">
              <a:buFontTx/>
              <a:buChar char="-"/>
            </a:pPr>
            <a:r>
              <a:rPr lang="en-GB" sz="1600" dirty="0">
                <a:solidFill>
                  <a:schemeClr val="tx1"/>
                </a:solidFill>
                <a:latin typeface="Arial" panose="020B0604020202020204" pitchFamily="34" charset="0"/>
                <a:cs typeface="Arial" panose="020B0604020202020204" pitchFamily="34" charset="0"/>
              </a:rPr>
              <a:t>At least 2 business days’ notice from the ESO as to when the CMP381 BSUoS Support Scheme is to end. </a:t>
            </a:r>
          </a:p>
          <a:p>
            <a:pPr marL="171450" indent="-171450">
              <a:buFontTx/>
              <a:buChar char="-"/>
            </a:pPr>
            <a:r>
              <a:rPr lang="en-GB" sz="1600" dirty="0">
                <a:solidFill>
                  <a:schemeClr val="tx1"/>
                </a:solidFill>
                <a:latin typeface="Arial" panose="020B0604020202020204" pitchFamily="34" charset="0"/>
                <a:cs typeface="Arial" panose="020B0604020202020204" pitchFamily="34" charset="0"/>
              </a:rPr>
              <a:t>Costs are recovered equally through FY22/23 (note discuss approach on next slide)</a:t>
            </a:r>
          </a:p>
          <a:p>
            <a:endParaRPr lang="en-GB" sz="16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3147376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E0C5A-02C9-4CE7-A525-A146E83FFA91}"/>
              </a:ext>
            </a:extLst>
          </p:cNvPr>
          <p:cNvSpPr>
            <a:spLocks noGrp="1"/>
          </p:cNvSpPr>
          <p:nvPr>
            <p:ph type="title"/>
          </p:nvPr>
        </p:nvSpPr>
        <p:spPr>
          <a:xfrm>
            <a:off x="497523" y="287012"/>
            <a:ext cx="12088320" cy="637747"/>
          </a:xfrm>
        </p:spPr>
        <p:txBody>
          <a:bodyPr/>
          <a:lstStyle/>
          <a:p>
            <a:r>
              <a:rPr lang="en-GB" dirty="0"/>
              <a:t>Questions for CMP381 implementation</a:t>
            </a:r>
          </a:p>
        </p:txBody>
      </p:sp>
      <p:sp>
        <p:nvSpPr>
          <p:cNvPr id="3" name="Text Placeholder 2">
            <a:extLst>
              <a:ext uri="{FF2B5EF4-FFF2-40B4-BE49-F238E27FC236}">
                <a16:creationId xmlns:a16="http://schemas.microsoft.com/office/drawing/2014/main" id="{61BD1880-B86C-4CD8-A0B5-8557A42FF0EC}"/>
              </a:ext>
            </a:extLst>
          </p:cNvPr>
          <p:cNvSpPr>
            <a:spLocks noGrp="1"/>
          </p:cNvSpPr>
          <p:nvPr>
            <p:ph type="body" sz="quarter" idx="12"/>
          </p:nvPr>
        </p:nvSpPr>
        <p:spPr>
          <a:xfrm>
            <a:off x="569442" y="1075426"/>
            <a:ext cx="11512967" cy="4211294"/>
          </a:xfrm>
        </p:spPr>
        <p:txBody>
          <a:bodyPr numCol="1"/>
          <a:lstStyle/>
          <a:p>
            <a:pPr marL="342900" indent="-342900">
              <a:buAutoNum type="arabicParenR"/>
            </a:pPr>
            <a:r>
              <a:rPr lang="en-GB" sz="2400" dirty="0">
                <a:solidFill>
                  <a:schemeClr val="accent1"/>
                </a:solidFill>
                <a:latin typeface="Helvetica Neue Light"/>
              </a:rPr>
              <a:t>How the costs are recovered in each day</a:t>
            </a:r>
          </a:p>
          <a:p>
            <a:pPr marL="914400" lvl="3" indent="-457200">
              <a:buFont typeface="+mj-lt"/>
              <a:buAutoNum type="alphaLcParenR"/>
            </a:pPr>
            <a:r>
              <a:rPr lang="en-GB" b="1" dirty="0">
                <a:solidFill>
                  <a:srgbClr val="787778"/>
                </a:solidFill>
                <a:latin typeface="Arial"/>
                <a:cs typeface="Arial"/>
              </a:rPr>
              <a:t>Across the settlement day – proposal</a:t>
            </a:r>
          </a:p>
          <a:p>
            <a:pPr marL="457200" lvl="3"/>
            <a:r>
              <a:rPr lang="en-GB" dirty="0">
                <a:solidFill>
                  <a:srgbClr val="787778"/>
                </a:solidFill>
                <a:latin typeface="Arial"/>
                <a:cs typeface="Arial"/>
              </a:rPr>
              <a:t>	- In this option, the costs recovered in each settlement day are the same</a:t>
            </a:r>
          </a:p>
          <a:p>
            <a:pPr marL="457200" lvl="3"/>
            <a:r>
              <a:rPr lang="en-GB" dirty="0">
                <a:solidFill>
                  <a:srgbClr val="787778"/>
                </a:solidFill>
                <a:latin typeface="Arial"/>
                <a:cs typeface="Arial"/>
              </a:rPr>
              <a:t>	- The costs are volume weighted across the day through each settlement period i.e. when volume is highest in the day, the largest proportion of costs are paid</a:t>
            </a:r>
          </a:p>
          <a:p>
            <a:pPr marL="457200" lvl="3"/>
            <a:r>
              <a:rPr lang="en-GB" dirty="0">
                <a:solidFill>
                  <a:srgbClr val="787778"/>
                </a:solidFill>
                <a:latin typeface="Arial"/>
                <a:cs typeface="Arial"/>
              </a:rPr>
              <a:t>	- This is how the majority of BSUoS charges work in BAU and is how the CMP373 is being recovered</a:t>
            </a:r>
          </a:p>
          <a:p>
            <a:pPr marL="457200" lvl="3"/>
            <a:r>
              <a:rPr lang="en-GB" b="1" dirty="0">
                <a:solidFill>
                  <a:srgbClr val="787778"/>
                </a:solidFill>
                <a:latin typeface="Arial"/>
                <a:cs typeface="Arial"/>
              </a:rPr>
              <a:t>b)   Evenly across the settlement periods </a:t>
            </a:r>
            <a:endParaRPr lang="en-GB" b="1" dirty="0">
              <a:solidFill>
                <a:srgbClr val="787778"/>
              </a:solidFill>
              <a:latin typeface="Arial" panose="020B0604020202020204" pitchFamily="34" charset="0"/>
              <a:cs typeface="Arial"/>
            </a:endParaRPr>
          </a:p>
          <a:p>
            <a:pPr marL="457200" lvl="3"/>
            <a:r>
              <a:rPr lang="en-GB" dirty="0">
                <a:solidFill>
                  <a:srgbClr val="787778"/>
                </a:solidFill>
                <a:latin typeface="Arial"/>
                <a:cs typeface="Arial"/>
              </a:rPr>
              <a:t>	- In this option, the costs recovered in each settlement period are fixed i.e. if the volumes to spread the costs over or high / low it does not change the amount to be recovered</a:t>
            </a:r>
          </a:p>
          <a:p>
            <a:pPr marL="457200" lvl="3"/>
            <a:r>
              <a:rPr lang="en-GB" dirty="0">
                <a:solidFill>
                  <a:srgbClr val="787778"/>
                </a:solidFill>
                <a:latin typeface="Arial"/>
                <a:cs typeface="Arial"/>
              </a:rPr>
              <a:t>	- This is how the recovery of CMP345 / 350 is occurring  </a:t>
            </a:r>
          </a:p>
          <a:p>
            <a:pPr marL="457200" lvl="3"/>
            <a:endParaRPr lang="en-GB" dirty="0">
              <a:solidFill>
                <a:srgbClr val="787778"/>
              </a:solidFill>
              <a:latin typeface="Arial"/>
              <a:cs typeface="Arial"/>
            </a:endParaRPr>
          </a:p>
          <a:p>
            <a:pPr marL="11" lvl="2"/>
            <a:r>
              <a:rPr lang="en-GB" sz="2400" dirty="0">
                <a:solidFill>
                  <a:schemeClr val="accent1"/>
                </a:solidFill>
                <a:latin typeface="Helvetica Neue Light"/>
              </a:rPr>
              <a:t>2) When / how recovery commences</a:t>
            </a:r>
          </a:p>
          <a:p>
            <a:pPr marL="11" lvl="2"/>
            <a:r>
              <a:rPr lang="en-GB" dirty="0">
                <a:solidFill>
                  <a:srgbClr val="787778"/>
                </a:solidFill>
                <a:latin typeface="Arial"/>
                <a:cs typeface="Arial"/>
              </a:rPr>
              <a:t>This scheme is slightly different to CMP345/350 as the end date of the scheme, is the day before recovery commences. We will therefore not have all finalised data before recovery commences. The proposed option is:</a:t>
            </a:r>
          </a:p>
          <a:p>
            <a:r>
              <a:rPr lang="en-GB" sz="1400" dirty="0">
                <a:solidFill>
                  <a:srgbClr val="787778"/>
                </a:solidFill>
                <a:latin typeface="Arial"/>
                <a:cs typeface="Arial"/>
              </a:rPr>
              <a:t>- On 8th April we will publish the recovery costs per day, which will commence as of 1st April 2022. This will be made up of SF and II data</a:t>
            </a:r>
          </a:p>
          <a:p>
            <a:r>
              <a:rPr lang="en-GB" sz="1400" dirty="0">
                <a:solidFill>
                  <a:srgbClr val="787778"/>
                </a:solidFill>
                <a:latin typeface="Arial"/>
                <a:cs typeface="Arial"/>
              </a:rPr>
              <a:t>- On 28th April, we will publish an updated figure to recover per day following all SF data being available</a:t>
            </a:r>
          </a:p>
          <a:p>
            <a:endParaRPr lang="en-GB" dirty="0"/>
          </a:p>
        </p:txBody>
      </p:sp>
    </p:spTree>
    <p:extLst>
      <p:ext uri="{BB962C8B-B14F-4D97-AF65-F5344CB8AC3E}">
        <p14:creationId xmlns:p14="http://schemas.microsoft.com/office/powerpoint/2010/main" val="20885390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85431A-0017-4292-A2FC-10C0D06B93F8}"/>
              </a:ext>
            </a:extLst>
          </p:cNvPr>
          <p:cNvSpPr>
            <a:spLocks noGrp="1"/>
          </p:cNvSpPr>
          <p:nvPr>
            <p:ph type="title"/>
          </p:nvPr>
        </p:nvSpPr>
        <p:spPr>
          <a:xfrm>
            <a:off x="446152" y="348661"/>
            <a:ext cx="5043199" cy="637747"/>
          </a:xfrm>
        </p:spPr>
        <p:txBody>
          <a:bodyPr/>
          <a:lstStyle/>
          <a:p>
            <a:r>
              <a:rPr lang="en-GB" dirty="0"/>
              <a:t>Calendar of dates</a:t>
            </a:r>
          </a:p>
        </p:txBody>
      </p:sp>
      <p:graphicFrame>
        <p:nvGraphicFramePr>
          <p:cNvPr id="4" name="Table 3">
            <a:extLst>
              <a:ext uri="{FF2B5EF4-FFF2-40B4-BE49-F238E27FC236}">
                <a16:creationId xmlns:a16="http://schemas.microsoft.com/office/drawing/2014/main" id="{F13E1191-187C-41BF-AD9A-A4061813F2BF}"/>
              </a:ext>
            </a:extLst>
          </p:cNvPr>
          <p:cNvGraphicFramePr>
            <a:graphicFrameLocks noGrp="1"/>
          </p:cNvGraphicFramePr>
          <p:nvPr/>
        </p:nvGraphicFramePr>
        <p:xfrm>
          <a:off x="5489351" y="1863140"/>
          <a:ext cx="6527988" cy="1581150"/>
        </p:xfrm>
        <a:graphic>
          <a:graphicData uri="http://schemas.openxmlformats.org/drawingml/2006/table">
            <a:tbl>
              <a:tblPr firstRow="1" firstCol="1" bandRow="1"/>
              <a:tblGrid>
                <a:gridCol w="1087998">
                  <a:extLst>
                    <a:ext uri="{9D8B030D-6E8A-4147-A177-3AD203B41FA5}">
                      <a16:colId xmlns:a16="http://schemas.microsoft.com/office/drawing/2014/main" val="703032544"/>
                    </a:ext>
                  </a:extLst>
                </a:gridCol>
                <a:gridCol w="1087998">
                  <a:extLst>
                    <a:ext uri="{9D8B030D-6E8A-4147-A177-3AD203B41FA5}">
                      <a16:colId xmlns:a16="http://schemas.microsoft.com/office/drawing/2014/main" val="476990050"/>
                    </a:ext>
                  </a:extLst>
                </a:gridCol>
                <a:gridCol w="1087998">
                  <a:extLst>
                    <a:ext uri="{9D8B030D-6E8A-4147-A177-3AD203B41FA5}">
                      <a16:colId xmlns:a16="http://schemas.microsoft.com/office/drawing/2014/main" val="861051481"/>
                    </a:ext>
                  </a:extLst>
                </a:gridCol>
                <a:gridCol w="1087998">
                  <a:extLst>
                    <a:ext uri="{9D8B030D-6E8A-4147-A177-3AD203B41FA5}">
                      <a16:colId xmlns:a16="http://schemas.microsoft.com/office/drawing/2014/main" val="589940404"/>
                    </a:ext>
                  </a:extLst>
                </a:gridCol>
                <a:gridCol w="1087998">
                  <a:extLst>
                    <a:ext uri="{9D8B030D-6E8A-4147-A177-3AD203B41FA5}">
                      <a16:colId xmlns:a16="http://schemas.microsoft.com/office/drawing/2014/main" val="2237875113"/>
                    </a:ext>
                  </a:extLst>
                </a:gridCol>
                <a:gridCol w="1087998">
                  <a:extLst>
                    <a:ext uri="{9D8B030D-6E8A-4147-A177-3AD203B41FA5}">
                      <a16:colId xmlns:a16="http://schemas.microsoft.com/office/drawing/2014/main" val="2950380454"/>
                    </a:ext>
                  </a:extLst>
                </a:gridCol>
              </a:tblGrid>
              <a:tr h="962025">
                <a:tc>
                  <a:txBody>
                    <a:bodyPr/>
                    <a:lstStyle/>
                    <a:p>
                      <a:pPr algn="ctr"/>
                      <a:r>
                        <a:rPr lang="en-GB" sz="1400" b="1" dirty="0">
                          <a:solidFill>
                            <a:srgbClr val="FFFFFF"/>
                          </a:solidFill>
                          <a:effectLst/>
                          <a:latin typeface="Calibri" panose="020F0502020204030204" pitchFamily="34" charset="0"/>
                          <a:ea typeface="Calibri" panose="020F0502020204030204" pitchFamily="34" charset="0"/>
                        </a:rPr>
                        <a:t>Scheme Month</a:t>
                      </a:r>
                      <a:endParaRPr lang="en-GB" sz="1100" dirty="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r>
                        <a:rPr lang="en-GB" sz="1400" b="1" dirty="0">
                          <a:solidFill>
                            <a:srgbClr val="FFFFFF"/>
                          </a:solidFill>
                          <a:effectLst/>
                          <a:latin typeface="Calibri" panose="020F0502020204030204" pitchFamily="34" charset="0"/>
                          <a:ea typeface="Calibri" panose="020F0502020204030204" pitchFamily="34" charset="0"/>
                        </a:rPr>
                        <a:t>Last Day of Settlement Month</a:t>
                      </a:r>
                      <a:endParaRPr lang="en-GB" sz="1100" dirty="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r>
                        <a:rPr lang="en-GB" sz="1400" b="1" dirty="0">
                          <a:solidFill>
                            <a:srgbClr val="FFFFFF"/>
                          </a:solidFill>
                          <a:effectLst/>
                          <a:latin typeface="Calibri" panose="020F0502020204030204" pitchFamily="34" charset="0"/>
                          <a:ea typeface="Calibri" panose="020F0502020204030204" pitchFamily="34" charset="0"/>
                        </a:rPr>
                        <a:t>II Processing Date for last Settlement day of Month</a:t>
                      </a:r>
                      <a:endParaRPr lang="en-GB" sz="1100" dirty="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r>
                        <a:rPr lang="en-GB" sz="1400" b="1" dirty="0">
                          <a:solidFill>
                            <a:srgbClr val="FFFFFF"/>
                          </a:solidFill>
                          <a:effectLst/>
                          <a:latin typeface="Calibri" panose="020F0502020204030204" pitchFamily="34" charset="0"/>
                          <a:ea typeface="Calibri" panose="020F0502020204030204" pitchFamily="34" charset="0"/>
                        </a:rPr>
                        <a:t>SF Billing Date for Last Settlement day of Month</a:t>
                      </a:r>
                      <a:endParaRPr lang="en-GB" sz="1100" dirty="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r>
                        <a:rPr lang="en-GB" sz="1400" b="1" dirty="0">
                          <a:solidFill>
                            <a:srgbClr val="FFFFFF"/>
                          </a:solidFill>
                          <a:effectLst/>
                          <a:latin typeface="Calibri" panose="020F0502020204030204" pitchFamily="34" charset="0"/>
                          <a:ea typeface="Calibri" panose="020F0502020204030204" pitchFamily="34" charset="0"/>
                        </a:rPr>
                        <a:t>Credit Note Issue Date</a:t>
                      </a:r>
                      <a:endParaRPr lang="en-GB" sz="1100" dirty="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r>
                        <a:rPr lang="en-GB" sz="1400" b="1" dirty="0">
                          <a:solidFill>
                            <a:srgbClr val="FFFFFF"/>
                          </a:solidFill>
                          <a:effectLst/>
                          <a:latin typeface="Calibri" panose="020F0502020204030204" pitchFamily="34" charset="0"/>
                          <a:ea typeface="Calibri" panose="020F0502020204030204" pitchFamily="34" charset="0"/>
                        </a:rPr>
                        <a:t>Payment Date</a:t>
                      </a:r>
                      <a:endParaRPr lang="en-GB" sz="1100" dirty="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2188617539"/>
                  </a:ext>
                </a:extLst>
              </a:tr>
              <a:tr h="171450">
                <a:tc>
                  <a:txBody>
                    <a:bodyPr/>
                    <a:lstStyle/>
                    <a:p>
                      <a:pPr algn="ctr"/>
                      <a:r>
                        <a:rPr lang="en-GB" sz="1000" dirty="0">
                          <a:solidFill>
                            <a:srgbClr val="000000"/>
                          </a:solidFill>
                          <a:effectLst/>
                          <a:latin typeface="Arial" panose="020B0604020202020204" pitchFamily="34" charset="0"/>
                          <a:ea typeface="Calibri" panose="020F0502020204030204" pitchFamily="34" charset="0"/>
                        </a:rPr>
                        <a:t>Jan-2022</a:t>
                      </a:r>
                      <a:endParaRPr lang="en-GB" sz="1100" dirty="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a:r>
                        <a:rPr lang="en-GB" sz="1000" dirty="0">
                          <a:solidFill>
                            <a:srgbClr val="000000"/>
                          </a:solidFill>
                          <a:effectLst/>
                          <a:latin typeface="Arial" panose="020B0604020202020204" pitchFamily="34" charset="0"/>
                          <a:ea typeface="Calibri" panose="020F0502020204030204" pitchFamily="34" charset="0"/>
                        </a:rPr>
                        <a:t>31/01/2022</a:t>
                      </a:r>
                      <a:endParaRPr lang="en-GB" sz="1100" dirty="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a:r>
                        <a:rPr lang="en-GB" sz="1000" dirty="0">
                          <a:solidFill>
                            <a:srgbClr val="000000"/>
                          </a:solidFill>
                          <a:effectLst/>
                          <a:latin typeface="Arial" panose="020B0604020202020204" pitchFamily="34" charset="0"/>
                          <a:ea typeface="Calibri" panose="020F0502020204030204" pitchFamily="34" charset="0"/>
                        </a:rPr>
                        <a:t>08/02/2022</a:t>
                      </a:r>
                      <a:endParaRPr lang="en-GB" sz="1100" dirty="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a:r>
                        <a:rPr lang="en-GB" sz="1000" dirty="0">
                          <a:solidFill>
                            <a:srgbClr val="000000"/>
                          </a:solidFill>
                          <a:effectLst/>
                          <a:latin typeface="Arial" panose="020B0604020202020204" pitchFamily="34" charset="0"/>
                          <a:ea typeface="Calibri" panose="020F0502020204030204" pitchFamily="34" charset="0"/>
                        </a:rPr>
                        <a:t>23/02/2022</a:t>
                      </a:r>
                      <a:endParaRPr lang="en-GB" sz="1100" dirty="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a:r>
                        <a:rPr lang="en-GB" sz="1000" dirty="0">
                          <a:solidFill>
                            <a:srgbClr val="000000"/>
                          </a:solidFill>
                          <a:effectLst/>
                          <a:latin typeface="Arial" panose="020B0604020202020204" pitchFamily="34" charset="0"/>
                          <a:ea typeface="Calibri" panose="020F0502020204030204" pitchFamily="34" charset="0"/>
                        </a:rPr>
                        <a:t>04/03/2022</a:t>
                      </a:r>
                      <a:endParaRPr lang="en-GB" sz="1100" dirty="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r>
                        <a:rPr lang="en-GB" sz="1000" dirty="0">
                          <a:solidFill>
                            <a:srgbClr val="000000"/>
                          </a:solidFill>
                          <a:effectLst/>
                          <a:latin typeface="Arial" panose="020B0604020202020204" pitchFamily="34" charset="0"/>
                          <a:ea typeface="Calibri" panose="020F0502020204030204" pitchFamily="34" charset="0"/>
                        </a:rPr>
                        <a:t>09/03/2022</a:t>
                      </a:r>
                      <a:endParaRPr lang="en-GB" sz="1100" dirty="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738039092"/>
                  </a:ext>
                </a:extLst>
              </a:tr>
              <a:tr h="171450">
                <a:tc>
                  <a:txBody>
                    <a:bodyPr/>
                    <a:lstStyle/>
                    <a:p>
                      <a:pPr algn="ctr"/>
                      <a:r>
                        <a:rPr lang="en-GB" sz="1000" dirty="0">
                          <a:solidFill>
                            <a:srgbClr val="000000"/>
                          </a:solidFill>
                          <a:effectLst/>
                          <a:latin typeface="Arial" panose="020B0604020202020204" pitchFamily="34" charset="0"/>
                          <a:ea typeface="Calibri" panose="020F0502020204030204" pitchFamily="34" charset="0"/>
                        </a:rPr>
                        <a:t>Feb-2022</a:t>
                      </a:r>
                      <a:endParaRPr lang="en-GB" sz="1100" dirty="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a:r>
                        <a:rPr lang="en-GB" sz="1000" dirty="0">
                          <a:solidFill>
                            <a:srgbClr val="000000"/>
                          </a:solidFill>
                          <a:effectLst/>
                          <a:latin typeface="Arial" panose="020B0604020202020204" pitchFamily="34" charset="0"/>
                          <a:ea typeface="Calibri" panose="020F0502020204030204" pitchFamily="34" charset="0"/>
                        </a:rPr>
                        <a:t>28/02/2022</a:t>
                      </a:r>
                      <a:endParaRPr lang="en-GB" sz="1100" dirty="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a:r>
                        <a:rPr lang="en-GB" sz="1000" dirty="0">
                          <a:solidFill>
                            <a:srgbClr val="000000"/>
                          </a:solidFill>
                          <a:effectLst/>
                          <a:latin typeface="Arial" panose="020B0604020202020204" pitchFamily="34" charset="0"/>
                          <a:ea typeface="Calibri" panose="020F0502020204030204" pitchFamily="34" charset="0"/>
                        </a:rPr>
                        <a:t>08/03/2022</a:t>
                      </a:r>
                      <a:endParaRPr lang="en-GB" sz="1100" dirty="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a:r>
                        <a:rPr lang="en-GB" sz="1000" dirty="0">
                          <a:solidFill>
                            <a:srgbClr val="000000"/>
                          </a:solidFill>
                          <a:effectLst/>
                          <a:latin typeface="Arial" panose="020B0604020202020204" pitchFamily="34" charset="0"/>
                          <a:ea typeface="Calibri" panose="020F0502020204030204" pitchFamily="34" charset="0"/>
                        </a:rPr>
                        <a:t>23/03/2022</a:t>
                      </a:r>
                      <a:endParaRPr lang="en-GB" sz="1100" dirty="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a:r>
                        <a:rPr lang="en-GB" sz="1000" dirty="0">
                          <a:solidFill>
                            <a:srgbClr val="000000"/>
                          </a:solidFill>
                          <a:effectLst/>
                          <a:latin typeface="Arial" panose="020B0604020202020204" pitchFamily="34" charset="0"/>
                          <a:ea typeface="Calibri" panose="020F0502020204030204" pitchFamily="34" charset="0"/>
                        </a:rPr>
                        <a:t>01/04/2022</a:t>
                      </a:r>
                      <a:endParaRPr lang="en-GB" sz="1100" dirty="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r>
                        <a:rPr lang="en-GB" sz="1000" dirty="0">
                          <a:solidFill>
                            <a:srgbClr val="000000"/>
                          </a:solidFill>
                          <a:effectLst/>
                          <a:latin typeface="Arial" panose="020B0604020202020204" pitchFamily="34" charset="0"/>
                          <a:ea typeface="Calibri" panose="020F0502020204030204" pitchFamily="34" charset="0"/>
                        </a:rPr>
                        <a:t>06/04/2022</a:t>
                      </a:r>
                      <a:endParaRPr lang="en-GB" sz="1100" dirty="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076599691"/>
                  </a:ext>
                </a:extLst>
              </a:tr>
              <a:tr h="171450">
                <a:tc>
                  <a:txBody>
                    <a:bodyPr/>
                    <a:lstStyle/>
                    <a:p>
                      <a:pPr algn="ctr"/>
                      <a:r>
                        <a:rPr lang="en-GB" sz="1000" dirty="0">
                          <a:solidFill>
                            <a:srgbClr val="000000"/>
                          </a:solidFill>
                          <a:effectLst/>
                          <a:latin typeface="Arial" panose="020B0604020202020204" pitchFamily="34" charset="0"/>
                          <a:ea typeface="Calibri" panose="020F0502020204030204" pitchFamily="34" charset="0"/>
                        </a:rPr>
                        <a:t>Mar-2022</a:t>
                      </a:r>
                      <a:endParaRPr lang="en-GB" sz="1100" dirty="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a:r>
                        <a:rPr lang="en-GB" sz="1000" dirty="0">
                          <a:solidFill>
                            <a:srgbClr val="000000"/>
                          </a:solidFill>
                          <a:effectLst/>
                          <a:latin typeface="Arial" panose="020B0604020202020204" pitchFamily="34" charset="0"/>
                          <a:ea typeface="Calibri" panose="020F0502020204030204" pitchFamily="34" charset="0"/>
                        </a:rPr>
                        <a:t>31/03/2022</a:t>
                      </a:r>
                      <a:endParaRPr lang="en-GB" sz="1100" dirty="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a:r>
                        <a:rPr lang="en-GB" sz="1000" dirty="0">
                          <a:solidFill>
                            <a:srgbClr val="000000"/>
                          </a:solidFill>
                          <a:effectLst/>
                          <a:latin typeface="Arial" panose="020B0604020202020204" pitchFamily="34" charset="0"/>
                          <a:ea typeface="Calibri" panose="020F0502020204030204" pitchFamily="34" charset="0"/>
                        </a:rPr>
                        <a:t>08/04/2022</a:t>
                      </a:r>
                      <a:endParaRPr lang="en-GB" sz="1100" dirty="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a:r>
                        <a:rPr lang="en-GB" sz="1000" dirty="0">
                          <a:solidFill>
                            <a:srgbClr val="000000"/>
                          </a:solidFill>
                          <a:effectLst/>
                          <a:latin typeface="Arial" panose="020B0604020202020204" pitchFamily="34" charset="0"/>
                          <a:ea typeface="Calibri" panose="020F0502020204030204" pitchFamily="34" charset="0"/>
                        </a:rPr>
                        <a:t>27/04/2022</a:t>
                      </a:r>
                      <a:endParaRPr lang="en-GB" sz="1100" dirty="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a:r>
                        <a:rPr lang="en-GB" sz="1000" dirty="0">
                          <a:solidFill>
                            <a:srgbClr val="000000"/>
                          </a:solidFill>
                          <a:effectLst/>
                          <a:latin typeface="Arial" panose="020B0604020202020204" pitchFamily="34" charset="0"/>
                          <a:ea typeface="Calibri" panose="020F0502020204030204" pitchFamily="34" charset="0"/>
                        </a:rPr>
                        <a:t>06/05/2022</a:t>
                      </a:r>
                      <a:endParaRPr lang="en-GB" sz="1100" dirty="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r>
                        <a:rPr lang="en-GB" sz="1000" dirty="0">
                          <a:solidFill>
                            <a:srgbClr val="000000"/>
                          </a:solidFill>
                          <a:effectLst/>
                          <a:latin typeface="Arial" panose="020B0604020202020204" pitchFamily="34" charset="0"/>
                          <a:ea typeface="Calibri" panose="020F0502020204030204" pitchFamily="34" charset="0"/>
                        </a:rPr>
                        <a:t>11/05/2022</a:t>
                      </a:r>
                      <a:endParaRPr lang="en-GB" sz="1100" dirty="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406890060"/>
                  </a:ext>
                </a:extLst>
              </a:tr>
            </a:tbl>
          </a:graphicData>
        </a:graphic>
      </p:graphicFrame>
      <p:sp>
        <p:nvSpPr>
          <p:cNvPr id="6" name="Title 1">
            <a:extLst>
              <a:ext uri="{FF2B5EF4-FFF2-40B4-BE49-F238E27FC236}">
                <a16:creationId xmlns:a16="http://schemas.microsoft.com/office/drawing/2014/main" id="{8127ECF3-0F48-4AB9-BE59-1AD0A18F61E1}"/>
              </a:ext>
            </a:extLst>
          </p:cNvPr>
          <p:cNvSpPr txBox="1">
            <a:spLocks/>
          </p:cNvSpPr>
          <p:nvPr/>
        </p:nvSpPr>
        <p:spPr>
          <a:xfrm>
            <a:off x="446152" y="1225393"/>
            <a:ext cx="5043199" cy="637747"/>
          </a:xfrm>
          <a:prstGeom prst="rect">
            <a:avLst/>
          </a:prstGeom>
        </p:spPr>
        <p:txBody>
          <a:bodyPr anchor="t"/>
          <a:lstStyle>
            <a:lvl1pPr algn="l" defTabSz="914377" rtl="0" eaLnBrk="1" latinLnBrk="0" hangingPunct="1">
              <a:lnSpc>
                <a:spcPct val="90000"/>
              </a:lnSpc>
              <a:spcBef>
                <a:spcPct val="0"/>
              </a:spcBef>
              <a:buNone/>
              <a:defRPr sz="4400" b="0" i="0" kern="120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GB" sz="2000" b="0" i="0" u="none" strike="noStrike" kern="1200" cap="none" spc="0" normalizeH="0" baseline="0" noProof="0" dirty="0">
                <a:ln>
                  <a:noFill/>
                </a:ln>
                <a:solidFill>
                  <a:srgbClr val="FFBF22"/>
                </a:solidFill>
                <a:effectLst/>
                <a:uLnTx/>
                <a:uFillTx/>
                <a:latin typeface="Helvetica Neue LT Std 65 Medium" panose="020B0604020202020204" pitchFamily="34" charset="0"/>
              </a:rPr>
              <a:t>Invoicing calendar</a:t>
            </a:r>
          </a:p>
        </p:txBody>
      </p:sp>
      <p:sp>
        <p:nvSpPr>
          <p:cNvPr id="7" name="Title 1">
            <a:extLst>
              <a:ext uri="{FF2B5EF4-FFF2-40B4-BE49-F238E27FC236}">
                <a16:creationId xmlns:a16="http://schemas.microsoft.com/office/drawing/2014/main" id="{C3315C27-8A55-4378-8555-297BD09B43C1}"/>
              </a:ext>
            </a:extLst>
          </p:cNvPr>
          <p:cNvSpPr txBox="1">
            <a:spLocks/>
          </p:cNvSpPr>
          <p:nvPr/>
        </p:nvSpPr>
        <p:spPr>
          <a:xfrm>
            <a:off x="5489351" y="1260443"/>
            <a:ext cx="5043199" cy="637747"/>
          </a:xfrm>
          <a:prstGeom prst="rect">
            <a:avLst/>
          </a:prstGeom>
        </p:spPr>
        <p:txBody>
          <a:bodyPr anchor="t"/>
          <a:lstStyle>
            <a:lvl1pPr algn="l" defTabSz="914377" rtl="0" eaLnBrk="1" latinLnBrk="0" hangingPunct="1">
              <a:lnSpc>
                <a:spcPct val="90000"/>
              </a:lnSpc>
              <a:spcBef>
                <a:spcPct val="0"/>
              </a:spcBef>
              <a:buNone/>
              <a:defRPr sz="4400" b="0" i="0" kern="120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GB" sz="2000" b="0" i="0" u="none" strike="noStrike" kern="1200" cap="none" spc="0" normalizeH="0" baseline="0" noProof="0" dirty="0">
                <a:ln>
                  <a:noFill/>
                </a:ln>
                <a:solidFill>
                  <a:srgbClr val="FFBF22"/>
                </a:solidFill>
                <a:effectLst/>
                <a:uLnTx/>
                <a:uFillTx/>
                <a:latin typeface="Helvetica Neue LT Std 65 Medium" panose="020B0604020202020204" pitchFamily="34" charset="0"/>
              </a:rPr>
              <a:t>Credit note calendar</a:t>
            </a:r>
          </a:p>
        </p:txBody>
      </p:sp>
      <p:pic>
        <p:nvPicPr>
          <p:cNvPr id="2050" name="Picture 2">
            <a:extLst>
              <a:ext uri="{FF2B5EF4-FFF2-40B4-BE49-F238E27FC236}">
                <a16:creationId xmlns:a16="http://schemas.microsoft.com/office/drawing/2014/main" id="{321B6576-B1C4-4C71-895B-A9C2E182AA0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4660" y="1579316"/>
            <a:ext cx="4921321" cy="4832112"/>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C050DC13-F475-46CD-8A52-5BFA8A83C512}"/>
              </a:ext>
            </a:extLst>
          </p:cNvPr>
          <p:cNvSpPr txBox="1"/>
          <p:nvPr/>
        </p:nvSpPr>
        <p:spPr>
          <a:xfrm>
            <a:off x="5489351" y="4531171"/>
            <a:ext cx="6097712"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rPr>
              <a:t>Full calendar of invoicing dates can be found here: </a:t>
            </a:r>
            <a:r>
              <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hlinkClick r:id="rId3"/>
              </a:rPr>
              <a:t>https://www.nationalgrideso.com/document/47391/download</a:t>
            </a:r>
            <a:r>
              <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5048045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59FF74-4DC5-4944-AAFA-63A9394B3A2D}"/>
              </a:ext>
            </a:extLst>
          </p:cNvPr>
          <p:cNvSpPr>
            <a:spLocks noGrp="1"/>
          </p:cNvSpPr>
          <p:nvPr>
            <p:ph type="title"/>
          </p:nvPr>
        </p:nvSpPr>
        <p:spPr>
          <a:xfrm>
            <a:off x="497523" y="780175"/>
            <a:ext cx="8060850" cy="637747"/>
          </a:xfrm>
        </p:spPr>
        <p:txBody>
          <a:bodyPr/>
          <a:lstStyle/>
          <a:p>
            <a:r>
              <a:rPr lang="en-GB" dirty="0"/>
              <a:t>ESO available support</a:t>
            </a:r>
          </a:p>
        </p:txBody>
      </p:sp>
      <p:sp>
        <p:nvSpPr>
          <p:cNvPr id="3" name="Text Placeholder 2">
            <a:extLst>
              <a:ext uri="{FF2B5EF4-FFF2-40B4-BE49-F238E27FC236}">
                <a16:creationId xmlns:a16="http://schemas.microsoft.com/office/drawing/2014/main" id="{1F2B2A03-7C6D-4A13-A22A-5282B3903787}"/>
              </a:ext>
            </a:extLst>
          </p:cNvPr>
          <p:cNvSpPr>
            <a:spLocks noGrp="1"/>
          </p:cNvSpPr>
          <p:nvPr>
            <p:ph type="body" sz="quarter" idx="12"/>
          </p:nvPr>
        </p:nvSpPr>
        <p:spPr/>
        <p:txBody>
          <a:bodyPr numCol="1"/>
          <a:lstStyle/>
          <a:p>
            <a:r>
              <a:rPr lang="en-GB" sz="1400" dirty="0"/>
              <a:t>The proposal sets out £300m of support from the ESO. Whilst this is in line with the support noted in CMP361, that number is an indicative value and will depend on financing in future periods from FY23/24 onwards and not in the short-term.</a:t>
            </a:r>
          </a:p>
          <a:p>
            <a:r>
              <a:rPr lang="en-GB" sz="1400" dirty="0"/>
              <a:t>We are open to providing support to industry, however currently the ESO has other financial commitments, which makes this level of support, at short notice, very challenging for a legally separate company with a RAV of £200m.</a:t>
            </a:r>
          </a:p>
          <a:p>
            <a:pPr marL="171450" indent="-171450">
              <a:buFontTx/>
              <a:buChar char="-"/>
            </a:pPr>
            <a:r>
              <a:rPr lang="en-GB" sz="1400" dirty="0"/>
              <a:t>This includes £100m of TNUoS funding - predominately the "k" factor demand under recovery from FY21, which the ESO will only recover in FY23.</a:t>
            </a:r>
          </a:p>
          <a:p>
            <a:pPr marL="171450" indent="-171450">
              <a:buFontTx/>
              <a:buChar char="-"/>
            </a:pPr>
            <a:r>
              <a:rPr lang="en-GB" sz="1400" dirty="0"/>
              <a:t>There are additional risks such as significant bad debt with the high number of suppliers that have ceased in FY22.</a:t>
            </a:r>
          </a:p>
          <a:p>
            <a:r>
              <a:rPr lang="en-GB" sz="1400" dirty="0"/>
              <a:t>Understandably, there are internal governance processes needed in regard to providing support which are likely to conclude on Wednesday.</a:t>
            </a:r>
          </a:p>
          <a:p>
            <a:endParaRPr lang="en-GB" sz="1400" dirty="0"/>
          </a:p>
        </p:txBody>
      </p:sp>
    </p:spTree>
    <p:extLst>
      <p:ext uri="{BB962C8B-B14F-4D97-AF65-F5344CB8AC3E}">
        <p14:creationId xmlns:p14="http://schemas.microsoft.com/office/powerpoint/2010/main" val="6439472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3C0E08-9F9C-4EE2-904E-9289365A5012}"/>
              </a:ext>
            </a:extLst>
          </p:cNvPr>
          <p:cNvSpPr>
            <a:spLocks noGrp="1"/>
          </p:cNvSpPr>
          <p:nvPr>
            <p:ph type="title"/>
          </p:nvPr>
        </p:nvSpPr>
        <p:spPr>
          <a:xfrm>
            <a:off x="497523" y="153452"/>
            <a:ext cx="11543789" cy="637747"/>
          </a:xfrm>
        </p:spPr>
        <p:txBody>
          <a:bodyPr/>
          <a:lstStyle/>
          <a:p>
            <a:r>
              <a:rPr lang="en-GB" dirty="0"/>
              <a:t>Analysis of how much would have been deferred in 2021 under different price caps</a:t>
            </a:r>
          </a:p>
        </p:txBody>
      </p:sp>
      <p:graphicFrame>
        <p:nvGraphicFramePr>
          <p:cNvPr id="4" name="Table 3">
            <a:extLst>
              <a:ext uri="{FF2B5EF4-FFF2-40B4-BE49-F238E27FC236}">
                <a16:creationId xmlns:a16="http://schemas.microsoft.com/office/drawing/2014/main" id="{52B87099-3A3E-498E-BC2E-76281CA64AA7}"/>
              </a:ext>
            </a:extLst>
          </p:cNvPr>
          <p:cNvGraphicFramePr>
            <a:graphicFrameLocks noGrp="1"/>
          </p:cNvGraphicFramePr>
          <p:nvPr/>
        </p:nvGraphicFramePr>
        <p:xfrm>
          <a:off x="497524" y="2049886"/>
          <a:ext cx="11112272" cy="3559801"/>
        </p:xfrm>
        <a:graphic>
          <a:graphicData uri="http://schemas.openxmlformats.org/drawingml/2006/table">
            <a:tbl>
              <a:tblPr firstRow="1" firstCol="1" bandRow="1"/>
              <a:tblGrid>
                <a:gridCol w="1631065">
                  <a:extLst>
                    <a:ext uri="{9D8B030D-6E8A-4147-A177-3AD203B41FA5}">
                      <a16:colId xmlns:a16="http://schemas.microsoft.com/office/drawing/2014/main" val="2508438625"/>
                    </a:ext>
                  </a:extLst>
                </a:gridCol>
                <a:gridCol w="1207488">
                  <a:extLst>
                    <a:ext uri="{9D8B030D-6E8A-4147-A177-3AD203B41FA5}">
                      <a16:colId xmlns:a16="http://schemas.microsoft.com/office/drawing/2014/main" val="2627090692"/>
                    </a:ext>
                  </a:extLst>
                </a:gridCol>
                <a:gridCol w="1182487">
                  <a:extLst>
                    <a:ext uri="{9D8B030D-6E8A-4147-A177-3AD203B41FA5}">
                      <a16:colId xmlns:a16="http://schemas.microsoft.com/office/drawing/2014/main" val="2939530407"/>
                    </a:ext>
                  </a:extLst>
                </a:gridCol>
                <a:gridCol w="1182487">
                  <a:extLst>
                    <a:ext uri="{9D8B030D-6E8A-4147-A177-3AD203B41FA5}">
                      <a16:colId xmlns:a16="http://schemas.microsoft.com/office/drawing/2014/main" val="3658966900"/>
                    </a:ext>
                  </a:extLst>
                </a:gridCol>
                <a:gridCol w="1181749">
                  <a:extLst>
                    <a:ext uri="{9D8B030D-6E8A-4147-A177-3AD203B41FA5}">
                      <a16:colId xmlns:a16="http://schemas.microsoft.com/office/drawing/2014/main" val="3040194222"/>
                    </a:ext>
                  </a:extLst>
                </a:gridCol>
                <a:gridCol w="1181749">
                  <a:extLst>
                    <a:ext uri="{9D8B030D-6E8A-4147-A177-3AD203B41FA5}">
                      <a16:colId xmlns:a16="http://schemas.microsoft.com/office/drawing/2014/main" val="1665773288"/>
                    </a:ext>
                  </a:extLst>
                </a:gridCol>
                <a:gridCol w="1181749">
                  <a:extLst>
                    <a:ext uri="{9D8B030D-6E8A-4147-A177-3AD203B41FA5}">
                      <a16:colId xmlns:a16="http://schemas.microsoft.com/office/drawing/2014/main" val="437385093"/>
                    </a:ext>
                  </a:extLst>
                </a:gridCol>
                <a:gridCol w="1181749">
                  <a:extLst>
                    <a:ext uri="{9D8B030D-6E8A-4147-A177-3AD203B41FA5}">
                      <a16:colId xmlns:a16="http://schemas.microsoft.com/office/drawing/2014/main" val="3913673347"/>
                    </a:ext>
                  </a:extLst>
                </a:gridCol>
                <a:gridCol w="1181749">
                  <a:extLst>
                    <a:ext uri="{9D8B030D-6E8A-4147-A177-3AD203B41FA5}">
                      <a16:colId xmlns:a16="http://schemas.microsoft.com/office/drawing/2014/main" val="898725030"/>
                    </a:ext>
                  </a:extLst>
                </a:gridCol>
              </a:tblGrid>
              <a:tr h="311043">
                <a:tc gridSpan="2">
                  <a:txBody>
                    <a:bodyPr/>
                    <a:lstStyle/>
                    <a:p>
                      <a:pPr algn="ctr"/>
                      <a:r>
                        <a:rPr lang="en-GB" sz="1200" b="1" dirty="0">
                          <a:solidFill>
                            <a:srgbClr val="000000"/>
                          </a:solidFill>
                          <a:effectLst/>
                          <a:latin typeface="Arial" panose="020B0604020202020204" pitchFamily="34" charset="0"/>
                          <a:ea typeface="Calibri" panose="020F0502020204030204" pitchFamily="34" charset="0"/>
                        </a:rPr>
                        <a:t>2021 BSUoS Charges by Month</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GB"/>
                    </a:p>
                  </a:txBody>
                  <a:tcPr/>
                </a:tc>
                <a:tc gridSpan="7">
                  <a:txBody>
                    <a:bodyPr/>
                    <a:lstStyle/>
                    <a:p>
                      <a:pPr algn="ctr"/>
                      <a:r>
                        <a:rPr lang="en-GB" sz="1200" b="1" dirty="0">
                          <a:solidFill>
                            <a:srgbClr val="000000"/>
                          </a:solidFill>
                          <a:effectLst/>
                          <a:latin typeface="Arial" panose="020B0604020202020204" pitchFamily="34" charset="0"/>
                          <a:ea typeface="Calibri" panose="020F0502020204030204" pitchFamily="34" charset="0"/>
                        </a:rPr>
                        <a:t>Amounts that would have been deferred under different cap values (£/MWh)</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GB"/>
                    </a:p>
                  </a:txBody>
                  <a:tcPr/>
                </a:tc>
                <a:tc hMerge="1">
                  <a:txBody>
                    <a:bodyPr/>
                    <a:lstStyle/>
                    <a:p>
                      <a:endParaRPr lang="en-GB"/>
                    </a:p>
                  </a:txBody>
                  <a:tcPr>
                    <a:lnL w="12700" cap="flat" cmpd="sng" algn="ctr">
                      <a:solidFill>
                        <a:srgbClr val="000000"/>
                      </a:solidFill>
                      <a:prstDash val="solid"/>
                      <a:round/>
                      <a:headEnd type="none" w="med" len="med"/>
                      <a:tailEnd type="none" w="med" len="med"/>
                    </a:ln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4088941545"/>
                  </a:ext>
                </a:extLst>
              </a:tr>
              <a:tr h="264386">
                <a:tc>
                  <a:txBody>
                    <a:bodyPr/>
                    <a:lstStyle/>
                    <a:p>
                      <a:pPr algn="ctr"/>
                      <a:r>
                        <a:rPr lang="en-GB" sz="1200" b="1" dirty="0">
                          <a:solidFill>
                            <a:srgbClr val="1F497D"/>
                          </a:solidFill>
                          <a:effectLst/>
                          <a:latin typeface="Arial" panose="020B0604020202020204" pitchFamily="34" charset="0"/>
                          <a:ea typeface="Calibri" panose="020F0502020204030204" pitchFamily="34" charset="0"/>
                        </a:rPr>
                        <a:t>Month</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b="1" dirty="0">
                          <a:solidFill>
                            <a:srgbClr val="1F497D"/>
                          </a:solidFill>
                          <a:effectLst/>
                          <a:latin typeface="Arial" panose="020B0604020202020204" pitchFamily="34" charset="0"/>
                          <a:ea typeface="Calibri" panose="020F0502020204030204" pitchFamily="34" charset="0"/>
                        </a:rPr>
                        <a:t>Billed Total</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b="1" dirty="0">
                          <a:solidFill>
                            <a:srgbClr val="000000"/>
                          </a:solidFill>
                          <a:effectLst/>
                          <a:latin typeface="Arial" panose="020B0604020202020204" pitchFamily="34" charset="0"/>
                          <a:ea typeface="Calibri" panose="020F0502020204030204" pitchFamily="34" charset="0"/>
                        </a:rPr>
                        <a:t>£5 Cap</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b="1" dirty="0">
                          <a:solidFill>
                            <a:srgbClr val="000000"/>
                          </a:solidFill>
                          <a:effectLst/>
                          <a:latin typeface="Arial" panose="020B0604020202020204" pitchFamily="34" charset="0"/>
                          <a:ea typeface="Calibri" panose="020F0502020204030204" pitchFamily="34" charset="0"/>
                        </a:rPr>
                        <a:t>£10 Cap</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b="1" dirty="0">
                          <a:solidFill>
                            <a:srgbClr val="000000"/>
                          </a:solidFill>
                          <a:effectLst/>
                          <a:latin typeface="Arial" panose="020B0604020202020204" pitchFamily="34" charset="0"/>
                          <a:ea typeface="Calibri" panose="020F0502020204030204" pitchFamily="34" charset="0"/>
                        </a:rPr>
                        <a:t>£15 Cap</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tc>
                  <a:txBody>
                    <a:bodyPr/>
                    <a:lstStyle/>
                    <a:p>
                      <a:pPr algn="ctr"/>
                      <a:r>
                        <a:rPr lang="en-GB" sz="1200" b="1" dirty="0">
                          <a:solidFill>
                            <a:srgbClr val="000000"/>
                          </a:solidFill>
                          <a:effectLst/>
                          <a:latin typeface="Arial" panose="020B0604020202020204" pitchFamily="34" charset="0"/>
                          <a:ea typeface="Calibri" panose="020F0502020204030204" pitchFamily="34" charset="0"/>
                        </a:rPr>
                        <a:t>£20 Cap</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b="1" dirty="0">
                          <a:solidFill>
                            <a:srgbClr val="000000"/>
                          </a:solidFill>
                          <a:effectLst/>
                          <a:latin typeface="Arial" panose="020B0604020202020204" pitchFamily="34" charset="0"/>
                          <a:ea typeface="Calibri" panose="020F0502020204030204" pitchFamily="34" charset="0"/>
                        </a:rPr>
                        <a:t>£25 Cap</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b="1" dirty="0">
                          <a:solidFill>
                            <a:srgbClr val="000000"/>
                          </a:solidFill>
                          <a:effectLst/>
                          <a:latin typeface="Arial" panose="020B0604020202020204" pitchFamily="34" charset="0"/>
                          <a:ea typeface="Calibri" panose="020F0502020204030204" pitchFamily="34" charset="0"/>
                        </a:rPr>
                        <a:t>£30 Cap</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b="1" dirty="0">
                          <a:solidFill>
                            <a:srgbClr val="000000"/>
                          </a:solidFill>
                          <a:effectLst/>
                          <a:latin typeface="Arial" panose="020B0604020202020204" pitchFamily="34" charset="0"/>
                          <a:ea typeface="Calibri" panose="020F0502020204030204" pitchFamily="34" charset="0"/>
                        </a:rPr>
                        <a:t>£35 Cap</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46194965"/>
                  </a:ext>
                </a:extLst>
              </a:tr>
              <a:tr h="264386">
                <a:tc>
                  <a:txBody>
                    <a:bodyPr/>
                    <a:lstStyle/>
                    <a:p>
                      <a:pPr algn="r"/>
                      <a:r>
                        <a:rPr lang="en-GB" sz="1200" dirty="0">
                          <a:solidFill>
                            <a:srgbClr val="1F497D"/>
                          </a:solidFill>
                          <a:effectLst/>
                          <a:latin typeface="Arial" panose="020B0604020202020204" pitchFamily="34" charset="0"/>
                          <a:ea typeface="Calibri" panose="020F0502020204030204" pitchFamily="34" charset="0"/>
                        </a:rPr>
                        <a:t>April</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1F497D"/>
                          </a:solidFill>
                          <a:effectLst/>
                          <a:latin typeface="Arial" panose="020B0604020202020204" pitchFamily="34" charset="0"/>
                          <a:ea typeface="Calibri" panose="020F0502020204030204" pitchFamily="34" charset="0"/>
                        </a:rPr>
                        <a:t>£155,614,544</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23,540,569</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11,461,548</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8,530,180</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5,950,753</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3,815,762</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2,005,890</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999,786</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17717065"/>
                  </a:ext>
                </a:extLst>
              </a:tr>
              <a:tr h="264386">
                <a:tc>
                  <a:txBody>
                    <a:bodyPr/>
                    <a:lstStyle/>
                    <a:p>
                      <a:pPr algn="r"/>
                      <a:r>
                        <a:rPr lang="en-GB" sz="1200" dirty="0">
                          <a:solidFill>
                            <a:srgbClr val="1F497D"/>
                          </a:solidFill>
                          <a:effectLst/>
                          <a:latin typeface="Arial" panose="020B0604020202020204" pitchFamily="34" charset="0"/>
                          <a:ea typeface="Calibri" panose="020F0502020204030204" pitchFamily="34" charset="0"/>
                        </a:rPr>
                        <a:t>May</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1F497D"/>
                          </a:solidFill>
                          <a:effectLst/>
                          <a:latin typeface="Arial" panose="020B0604020202020204" pitchFamily="34" charset="0"/>
                          <a:ea typeface="Calibri" panose="020F0502020204030204" pitchFamily="34" charset="0"/>
                        </a:rPr>
                        <a:t>£177,780,449</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26,485,069</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3,621,659</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115,300</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0</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0</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0</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0</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04047612"/>
                  </a:ext>
                </a:extLst>
              </a:tr>
              <a:tr h="264386">
                <a:tc>
                  <a:txBody>
                    <a:bodyPr/>
                    <a:lstStyle/>
                    <a:p>
                      <a:pPr algn="r"/>
                      <a:r>
                        <a:rPr lang="en-GB" sz="1200" dirty="0">
                          <a:solidFill>
                            <a:srgbClr val="1F497D"/>
                          </a:solidFill>
                          <a:effectLst/>
                          <a:latin typeface="Arial" panose="020B0604020202020204" pitchFamily="34" charset="0"/>
                          <a:ea typeface="Calibri" panose="020F0502020204030204" pitchFamily="34" charset="0"/>
                        </a:rPr>
                        <a:t>June</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1F497D"/>
                          </a:solidFill>
                          <a:effectLst/>
                          <a:latin typeface="Arial" panose="020B0604020202020204" pitchFamily="34" charset="0"/>
                          <a:ea typeface="Calibri" panose="020F0502020204030204" pitchFamily="34" charset="0"/>
                        </a:rPr>
                        <a:t>£161,772,879</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18,219,921</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1,953,893</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33,678</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0</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0</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0</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0</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37246394"/>
                  </a:ext>
                </a:extLst>
              </a:tr>
              <a:tr h="264386">
                <a:tc>
                  <a:txBody>
                    <a:bodyPr/>
                    <a:lstStyle/>
                    <a:p>
                      <a:pPr algn="r"/>
                      <a:r>
                        <a:rPr lang="en-GB" sz="1200" dirty="0">
                          <a:solidFill>
                            <a:srgbClr val="1F497D"/>
                          </a:solidFill>
                          <a:effectLst/>
                          <a:latin typeface="Arial" panose="020B0604020202020204" pitchFamily="34" charset="0"/>
                          <a:ea typeface="Calibri" panose="020F0502020204030204" pitchFamily="34" charset="0"/>
                        </a:rPr>
                        <a:t>July</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1F497D"/>
                          </a:solidFill>
                          <a:effectLst/>
                          <a:latin typeface="Arial" panose="020B0604020202020204" pitchFamily="34" charset="0"/>
                          <a:ea typeface="Calibri" panose="020F0502020204030204" pitchFamily="34" charset="0"/>
                        </a:rPr>
                        <a:t>£156,731,953</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12,907,044</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942,707</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0</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0</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0</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0</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0</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77818585"/>
                  </a:ext>
                </a:extLst>
              </a:tr>
              <a:tr h="264386">
                <a:tc>
                  <a:txBody>
                    <a:bodyPr/>
                    <a:lstStyle/>
                    <a:p>
                      <a:pPr algn="r"/>
                      <a:r>
                        <a:rPr lang="en-GB" sz="1200" dirty="0">
                          <a:solidFill>
                            <a:srgbClr val="1F497D"/>
                          </a:solidFill>
                          <a:effectLst/>
                          <a:latin typeface="Arial" panose="020B0604020202020204" pitchFamily="34" charset="0"/>
                          <a:ea typeface="Calibri" panose="020F0502020204030204" pitchFamily="34" charset="0"/>
                        </a:rPr>
                        <a:t>August</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1F497D"/>
                          </a:solidFill>
                          <a:effectLst/>
                          <a:latin typeface="Arial" panose="020B0604020202020204" pitchFamily="34" charset="0"/>
                          <a:ea typeface="Calibri" panose="020F0502020204030204" pitchFamily="34" charset="0"/>
                        </a:rPr>
                        <a:t>£213,257,976</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51,837,998</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14,714,037</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5,016,987</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1,251,172</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227,277</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0</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0</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82734645"/>
                  </a:ext>
                </a:extLst>
              </a:tr>
              <a:tr h="264386">
                <a:tc>
                  <a:txBody>
                    <a:bodyPr/>
                    <a:lstStyle/>
                    <a:p>
                      <a:pPr algn="r"/>
                      <a:r>
                        <a:rPr lang="en-GB" sz="1200" dirty="0">
                          <a:solidFill>
                            <a:srgbClr val="1F497D"/>
                          </a:solidFill>
                          <a:effectLst/>
                          <a:latin typeface="Arial" panose="020B0604020202020204" pitchFamily="34" charset="0"/>
                          <a:ea typeface="Calibri" panose="020F0502020204030204" pitchFamily="34" charset="0"/>
                        </a:rPr>
                        <a:t>September</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1F497D"/>
                          </a:solidFill>
                          <a:effectLst/>
                          <a:latin typeface="Arial" panose="020B0604020202020204" pitchFamily="34" charset="0"/>
                          <a:ea typeface="Calibri" panose="020F0502020204030204" pitchFamily="34" charset="0"/>
                        </a:rPr>
                        <a:t>£264,544,266</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126,411,853</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89,125,348</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70,273,103</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57,111,226</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46,275,422</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37,081,042</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29,249,520</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01232774"/>
                  </a:ext>
                </a:extLst>
              </a:tr>
              <a:tr h="264386">
                <a:tc>
                  <a:txBody>
                    <a:bodyPr/>
                    <a:lstStyle/>
                    <a:p>
                      <a:pPr algn="r"/>
                      <a:r>
                        <a:rPr lang="en-GB" sz="1200" dirty="0">
                          <a:solidFill>
                            <a:srgbClr val="1F497D"/>
                          </a:solidFill>
                          <a:effectLst/>
                          <a:latin typeface="Arial" panose="020B0604020202020204" pitchFamily="34" charset="0"/>
                          <a:ea typeface="Calibri" panose="020F0502020204030204" pitchFamily="34" charset="0"/>
                        </a:rPr>
                        <a:t>October</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1F497D"/>
                          </a:solidFill>
                          <a:effectLst/>
                          <a:latin typeface="Arial" panose="020B0604020202020204" pitchFamily="34" charset="0"/>
                          <a:ea typeface="Calibri" panose="020F0502020204030204" pitchFamily="34" charset="0"/>
                        </a:rPr>
                        <a:t>£352,043,857</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163,844,809</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70,917,604</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32,957,154</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15,031,674</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5,357,959</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1,271,244</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94,453</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08170532"/>
                  </a:ext>
                </a:extLst>
              </a:tr>
              <a:tr h="264386">
                <a:tc>
                  <a:txBody>
                    <a:bodyPr/>
                    <a:lstStyle/>
                    <a:p>
                      <a:pPr algn="r"/>
                      <a:r>
                        <a:rPr lang="en-GB" sz="1200" dirty="0">
                          <a:solidFill>
                            <a:srgbClr val="1F497D"/>
                          </a:solidFill>
                          <a:effectLst/>
                          <a:latin typeface="Arial" panose="020B0604020202020204" pitchFamily="34" charset="0"/>
                          <a:ea typeface="Calibri" panose="020F0502020204030204" pitchFamily="34" charset="0"/>
                        </a:rPr>
                        <a:t>November</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1F497D"/>
                          </a:solidFill>
                          <a:effectLst/>
                          <a:latin typeface="Arial" panose="020B0604020202020204" pitchFamily="34" charset="0"/>
                          <a:ea typeface="Calibri" panose="020F0502020204030204" pitchFamily="34" charset="0"/>
                        </a:rPr>
                        <a:t>£571,767,208</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366,001,819</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245,754,573</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177,040,515</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135,623,471</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109,982,798</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91,415,209</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78,116,020</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60351228"/>
                  </a:ext>
                </a:extLst>
              </a:tr>
              <a:tr h="351421">
                <a:tc>
                  <a:txBody>
                    <a:bodyPr/>
                    <a:lstStyle/>
                    <a:p>
                      <a:pPr algn="r"/>
                      <a:r>
                        <a:rPr lang="en-GB" sz="1200" dirty="0">
                          <a:solidFill>
                            <a:srgbClr val="1F497D"/>
                          </a:solidFill>
                          <a:effectLst/>
                          <a:latin typeface="Arial" panose="020B0604020202020204" pitchFamily="34" charset="0"/>
                          <a:ea typeface="Calibri" panose="020F0502020204030204" pitchFamily="34" charset="0"/>
                        </a:rPr>
                        <a:t>December (up to 8th)</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dbl" algn="ctr">
                      <a:solidFill>
                        <a:srgbClr val="000000"/>
                      </a:solidFill>
                      <a:prstDash val="solid"/>
                      <a:round/>
                      <a:headEnd type="none" w="med" len="med"/>
                      <a:tailEnd type="none" w="med" len="med"/>
                    </a:lnB>
                  </a:tcPr>
                </a:tc>
                <a:tc>
                  <a:txBody>
                    <a:bodyPr/>
                    <a:lstStyle/>
                    <a:p>
                      <a:pPr algn="ctr"/>
                      <a:r>
                        <a:rPr lang="en-GB" sz="1200" dirty="0">
                          <a:solidFill>
                            <a:srgbClr val="1F497D"/>
                          </a:solidFill>
                          <a:effectLst/>
                          <a:latin typeface="Arial" panose="020B0604020202020204" pitchFamily="34" charset="0"/>
                          <a:ea typeface="Calibri" panose="020F0502020204030204" pitchFamily="34" charset="0"/>
                        </a:rPr>
                        <a:t>£122,066,280</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dbl"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62,256,630</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dbl"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32,173,442</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dbl"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20,247,243</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dbl"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16,118,340</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dbl"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14,306,166</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dbl"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12,645,606</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dbl"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11,078,950</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dbl" algn="ctr">
                      <a:solidFill>
                        <a:srgbClr val="000000"/>
                      </a:solidFill>
                      <a:prstDash val="solid"/>
                      <a:round/>
                      <a:headEnd type="none" w="med" len="med"/>
                      <a:tailEnd type="none" w="med" len="med"/>
                    </a:lnB>
                  </a:tcPr>
                </a:tc>
                <a:extLst>
                  <a:ext uri="{0D108BD9-81ED-4DB2-BD59-A6C34878D82A}">
                    <a16:rowId xmlns:a16="http://schemas.microsoft.com/office/drawing/2014/main" val="2032840372"/>
                  </a:ext>
                </a:extLst>
              </a:tr>
              <a:tr h="517863">
                <a:tc>
                  <a:txBody>
                    <a:bodyPr/>
                    <a:lstStyle/>
                    <a:p>
                      <a:pPr algn="ctr"/>
                      <a:r>
                        <a:rPr lang="en-GB" sz="1200" b="1" dirty="0">
                          <a:solidFill>
                            <a:srgbClr val="000000"/>
                          </a:solidFill>
                          <a:effectLst/>
                          <a:latin typeface="Arial" panose="020B0604020202020204" pitchFamily="34" charset="0"/>
                          <a:ea typeface="Calibri" panose="020F0502020204030204" pitchFamily="34" charset="0"/>
                        </a:rPr>
                        <a:t>Total</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dbl" algn="ctr">
                      <a:solidFill>
                        <a:srgbClr val="000000"/>
                      </a:solidFill>
                      <a:prstDash val="solid"/>
                      <a:round/>
                      <a:headEnd type="none" w="med" len="med"/>
                      <a:tailEnd type="none" w="med" len="med"/>
                    </a:lnT>
                    <a:lnB w="28575" cap="flat" cmpd="dbl" algn="ctr">
                      <a:solidFill>
                        <a:srgbClr val="000000"/>
                      </a:solidFill>
                      <a:prstDash val="solid"/>
                      <a:round/>
                      <a:headEnd type="none" w="med" len="med"/>
                      <a:tailEnd type="none" w="med" len="med"/>
                    </a:lnB>
                  </a:tcPr>
                </a:tc>
                <a:tc>
                  <a:txBody>
                    <a:bodyPr/>
                    <a:lstStyle/>
                    <a:p>
                      <a:pPr algn="ctr"/>
                      <a:r>
                        <a:rPr lang="en-GB" sz="1200" dirty="0">
                          <a:solidFill>
                            <a:srgbClr val="1F497D"/>
                          </a:solidFill>
                          <a:effectLst/>
                          <a:latin typeface="Arial" panose="020B0604020202020204" pitchFamily="34" charset="0"/>
                          <a:ea typeface="Calibri" panose="020F0502020204030204" pitchFamily="34" charset="0"/>
                        </a:rPr>
                        <a:t>£2,175,579,410</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dbl" algn="ctr">
                      <a:solidFill>
                        <a:srgbClr val="000000"/>
                      </a:solidFill>
                      <a:prstDash val="solid"/>
                      <a:round/>
                      <a:headEnd type="none" w="med" len="med"/>
                      <a:tailEnd type="none" w="med" len="med"/>
                    </a:lnT>
                    <a:lnB w="28575" cap="flat" cmpd="dbl"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851,505,711</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dbl" algn="ctr">
                      <a:solidFill>
                        <a:srgbClr val="000000"/>
                      </a:solidFill>
                      <a:prstDash val="solid"/>
                      <a:round/>
                      <a:headEnd type="none" w="med" len="med"/>
                      <a:tailEnd type="none" w="med" len="med"/>
                    </a:lnT>
                    <a:lnB w="28575" cap="flat" cmpd="dbl"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470,664,810</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dbl" algn="ctr">
                      <a:solidFill>
                        <a:srgbClr val="000000"/>
                      </a:solidFill>
                      <a:prstDash val="solid"/>
                      <a:round/>
                      <a:headEnd type="none" w="med" len="med"/>
                      <a:tailEnd type="none" w="med" len="med"/>
                    </a:lnT>
                    <a:lnB w="28575" cap="flat" cmpd="dbl"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314,214,160</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dbl" algn="ctr">
                      <a:solidFill>
                        <a:srgbClr val="000000"/>
                      </a:solidFill>
                      <a:prstDash val="solid"/>
                      <a:round/>
                      <a:headEnd type="none" w="med" len="med"/>
                      <a:tailEnd type="none" w="med" len="med"/>
                    </a:lnT>
                    <a:lnB w="28575" cap="flat" cmpd="dbl"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231,086,636</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dbl" algn="ctr">
                      <a:solidFill>
                        <a:srgbClr val="000000"/>
                      </a:solidFill>
                      <a:prstDash val="solid"/>
                      <a:round/>
                      <a:headEnd type="none" w="med" len="med"/>
                      <a:tailEnd type="none" w="med" len="med"/>
                    </a:lnT>
                    <a:lnB w="28575" cap="flat" cmpd="dbl"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179,965,384</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dbl" algn="ctr">
                      <a:solidFill>
                        <a:srgbClr val="000000"/>
                      </a:solidFill>
                      <a:prstDash val="solid"/>
                      <a:round/>
                      <a:headEnd type="none" w="med" len="med"/>
                      <a:tailEnd type="none" w="med" len="med"/>
                    </a:lnT>
                    <a:lnB w="28575" cap="flat" cmpd="dbl"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144,418,990</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dbl" algn="ctr">
                      <a:solidFill>
                        <a:srgbClr val="000000"/>
                      </a:solidFill>
                      <a:prstDash val="solid"/>
                      <a:round/>
                      <a:headEnd type="none" w="med" len="med"/>
                      <a:tailEnd type="none" w="med" len="med"/>
                    </a:lnT>
                    <a:lnB w="28575" cap="flat" cmpd="dbl" algn="ctr">
                      <a:solidFill>
                        <a:srgbClr val="000000"/>
                      </a:solidFill>
                      <a:prstDash val="solid"/>
                      <a:round/>
                      <a:headEnd type="none" w="med" len="med"/>
                      <a:tailEnd type="none" w="med" len="med"/>
                    </a:lnB>
                  </a:tcPr>
                </a:tc>
                <a:tc>
                  <a:txBody>
                    <a:bodyPr/>
                    <a:lstStyle/>
                    <a:p>
                      <a:pPr algn="ctr"/>
                      <a:r>
                        <a:rPr lang="en-GB" sz="1200" dirty="0">
                          <a:solidFill>
                            <a:srgbClr val="000000"/>
                          </a:solidFill>
                          <a:effectLst/>
                          <a:latin typeface="Arial" panose="020B0604020202020204" pitchFamily="34" charset="0"/>
                          <a:ea typeface="Calibri" panose="020F0502020204030204" pitchFamily="34" charset="0"/>
                        </a:rPr>
                        <a:t>£119,538,729</a:t>
                      </a:r>
                      <a:endParaRPr lang="en-GB" sz="1200" dirty="0">
                        <a:effectLst/>
                        <a:latin typeface="Calibri" panose="020F0502020204030204" pitchFamily="34" charset="0"/>
                        <a:ea typeface="Calibri" panose="020F0502020204030204" pitchFamily="34" charset="0"/>
                      </a:endParaRPr>
                    </a:p>
                  </a:txBody>
                  <a:tcPr marL="52724" marR="5272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dbl" algn="ctr">
                      <a:solidFill>
                        <a:srgbClr val="000000"/>
                      </a:solidFill>
                      <a:prstDash val="solid"/>
                      <a:round/>
                      <a:headEnd type="none" w="med" len="med"/>
                      <a:tailEnd type="none" w="med" len="med"/>
                    </a:lnT>
                    <a:lnB w="28575" cap="flat" cmpd="dbl" algn="ctr">
                      <a:solidFill>
                        <a:srgbClr val="000000"/>
                      </a:solidFill>
                      <a:prstDash val="solid"/>
                      <a:round/>
                      <a:headEnd type="none" w="med" len="med"/>
                      <a:tailEnd type="none" w="med" len="med"/>
                    </a:lnB>
                  </a:tcPr>
                </a:tc>
                <a:extLst>
                  <a:ext uri="{0D108BD9-81ED-4DB2-BD59-A6C34878D82A}">
                    <a16:rowId xmlns:a16="http://schemas.microsoft.com/office/drawing/2014/main" val="1466773274"/>
                  </a:ext>
                </a:extLst>
              </a:tr>
            </a:tbl>
          </a:graphicData>
        </a:graphic>
      </p:graphicFrame>
    </p:spTree>
    <p:extLst>
      <p:ext uri="{BB962C8B-B14F-4D97-AF65-F5344CB8AC3E}">
        <p14:creationId xmlns:p14="http://schemas.microsoft.com/office/powerpoint/2010/main" val="25458568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8E68EA-86FC-4E56-A64F-F9971D71C88A}"/>
              </a:ext>
            </a:extLst>
          </p:cNvPr>
          <p:cNvSpPr>
            <a:spLocks noGrp="1"/>
          </p:cNvSpPr>
          <p:nvPr>
            <p:ph type="title"/>
          </p:nvPr>
        </p:nvSpPr>
        <p:spPr>
          <a:xfrm>
            <a:off x="417623" y="210175"/>
            <a:ext cx="11533515" cy="637747"/>
          </a:xfrm>
        </p:spPr>
        <p:txBody>
          <a:bodyPr>
            <a:normAutofit fontScale="90000"/>
          </a:bodyPr>
          <a:lstStyle/>
          <a:p>
            <a:r>
              <a:rPr lang="en-GB" sz="4000" dirty="0"/>
              <a:t>Analysis on different price caps</a:t>
            </a:r>
          </a:p>
        </p:txBody>
      </p:sp>
      <p:graphicFrame>
        <p:nvGraphicFramePr>
          <p:cNvPr id="5" name="Table 4">
            <a:extLst>
              <a:ext uri="{FF2B5EF4-FFF2-40B4-BE49-F238E27FC236}">
                <a16:creationId xmlns:a16="http://schemas.microsoft.com/office/drawing/2014/main" id="{5930A57E-7B41-403D-8AEE-B6E4AF9E1819}"/>
              </a:ext>
            </a:extLst>
          </p:cNvPr>
          <p:cNvGraphicFramePr>
            <a:graphicFrameLocks noGrp="1"/>
          </p:cNvGraphicFramePr>
          <p:nvPr/>
        </p:nvGraphicFramePr>
        <p:xfrm>
          <a:off x="341263" y="1616230"/>
          <a:ext cx="5231351" cy="1333500"/>
        </p:xfrm>
        <a:graphic>
          <a:graphicData uri="http://schemas.openxmlformats.org/drawingml/2006/table">
            <a:tbl>
              <a:tblPr>
                <a:tableStyleId>{2D5ABB26-0587-4C30-8999-92F81FD0307C}</a:tableStyleId>
              </a:tblPr>
              <a:tblGrid>
                <a:gridCol w="1318471">
                  <a:extLst>
                    <a:ext uri="{9D8B030D-6E8A-4147-A177-3AD203B41FA5}">
                      <a16:colId xmlns:a16="http://schemas.microsoft.com/office/drawing/2014/main" val="2910207143"/>
                    </a:ext>
                  </a:extLst>
                </a:gridCol>
                <a:gridCol w="978220">
                  <a:extLst>
                    <a:ext uri="{9D8B030D-6E8A-4147-A177-3AD203B41FA5}">
                      <a16:colId xmlns:a16="http://schemas.microsoft.com/office/drawing/2014/main" val="1004020717"/>
                    </a:ext>
                  </a:extLst>
                </a:gridCol>
                <a:gridCol w="978220">
                  <a:extLst>
                    <a:ext uri="{9D8B030D-6E8A-4147-A177-3AD203B41FA5}">
                      <a16:colId xmlns:a16="http://schemas.microsoft.com/office/drawing/2014/main" val="847310368"/>
                    </a:ext>
                  </a:extLst>
                </a:gridCol>
                <a:gridCol w="978220">
                  <a:extLst>
                    <a:ext uri="{9D8B030D-6E8A-4147-A177-3AD203B41FA5}">
                      <a16:colId xmlns:a16="http://schemas.microsoft.com/office/drawing/2014/main" val="336262298"/>
                    </a:ext>
                  </a:extLst>
                </a:gridCol>
                <a:gridCol w="978220">
                  <a:extLst>
                    <a:ext uri="{9D8B030D-6E8A-4147-A177-3AD203B41FA5}">
                      <a16:colId xmlns:a16="http://schemas.microsoft.com/office/drawing/2014/main" val="2747580595"/>
                    </a:ext>
                  </a:extLst>
                </a:gridCol>
              </a:tblGrid>
              <a:tr h="190500">
                <a:tc>
                  <a:txBody>
                    <a:bodyPr/>
                    <a:lstStyle/>
                    <a:p>
                      <a:pPr algn="l" fontAlgn="b"/>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l" fontAlgn="b"/>
                      <a:r>
                        <a:rPr lang="en-GB" sz="1100" u="none" strike="noStrike" dirty="0">
                          <a:solidFill>
                            <a:schemeClr val="bg1"/>
                          </a:solidFill>
                          <a:effectLst/>
                          <a:latin typeface="Arial" panose="020B0604020202020204" pitchFamily="34" charset="0"/>
                          <a:cs typeface="Arial" panose="020B0604020202020204" pitchFamily="34" charset="0"/>
                        </a:rPr>
                        <a:t>£10/MWh cap</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l" fontAlgn="b"/>
                      <a:r>
                        <a:rPr lang="en-GB" sz="1100" u="none" strike="noStrike" dirty="0">
                          <a:solidFill>
                            <a:schemeClr val="bg1"/>
                          </a:solidFill>
                          <a:effectLst/>
                          <a:latin typeface="Arial" panose="020B0604020202020204" pitchFamily="34" charset="0"/>
                          <a:cs typeface="Arial" panose="020B0604020202020204" pitchFamily="34" charset="0"/>
                        </a:rPr>
                        <a:t>£15/MWh cap</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l" fontAlgn="b"/>
                      <a:r>
                        <a:rPr lang="en-GB" sz="1100" u="none" strike="noStrike" dirty="0">
                          <a:solidFill>
                            <a:schemeClr val="bg1"/>
                          </a:solidFill>
                          <a:effectLst/>
                          <a:latin typeface="Arial" panose="020B0604020202020204" pitchFamily="34" charset="0"/>
                          <a:cs typeface="Arial" panose="020B0604020202020204" pitchFamily="34" charset="0"/>
                        </a:rPr>
                        <a:t>£20/MWh cap</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l" fontAlgn="b"/>
                      <a:r>
                        <a:rPr lang="en-GB" sz="1100" u="none" strike="noStrike" dirty="0">
                          <a:solidFill>
                            <a:schemeClr val="bg1"/>
                          </a:solidFill>
                          <a:effectLst/>
                          <a:latin typeface="Arial" panose="020B0604020202020204" pitchFamily="34" charset="0"/>
                          <a:cs typeface="Arial" panose="020B0604020202020204" pitchFamily="34" charset="0"/>
                        </a:rPr>
                        <a:t>£25/MWh cap</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982124164"/>
                  </a:ext>
                </a:extLst>
              </a:tr>
              <a:tr h="190500">
                <a:tc>
                  <a:txBody>
                    <a:bodyPr/>
                    <a:lstStyle/>
                    <a:p>
                      <a:pPr algn="r" fontAlgn="b"/>
                      <a:r>
                        <a:rPr lang="en-GB" sz="1100" u="none" strike="noStrike" dirty="0">
                          <a:effectLst/>
                          <a:latin typeface="Arial" panose="020B0604020202020204" pitchFamily="34" charset="0"/>
                          <a:cs typeface="Arial" panose="020B0604020202020204" pitchFamily="34" charset="0"/>
                        </a:rPr>
                        <a:t>Sep-21</a:t>
                      </a:r>
                      <a:endParaRPr lang="en-GB"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GB" sz="1100" u="none" strike="noStrike" dirty="0">
                          <a:effectLst/>
                          <a:latin typeface="Arial" panose="020B0604020202020204" pitchFamily="34" charset="0"/>
                          <a:cs typeface="Arial" panose="020B0604020202020204" pitchFamily="34" charset="0"/>
                        </a:rPr>
                        <a:t>12%</a:t>
                      </a:r>
                      <a:endParaRPr lang="en-GB"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GB" sz="1100" u="none" strike="noStrike" dirty="0">
                          <a:effectLst/>
                          <a:latin typeface="Arial" panose="020B0604020202020204" pitchFamily="34" charset="0"/>
                          <a:cs typeface="Arial" panose="020B0604020202020204" pitchFamily="34" charset="0"/>
                        </a:rPr>
                        <a:t>7%</a:t>
                      </a:r>
                      <a:endParaRPr lang="en-GB"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GB" sz="1100" u="none" strike="noStrike" dirty="0">
                          <a:effectLst/>
                          <a:latin typeface="Arial" panose="020B0604020202020204" pitchFamily="34" charset="0"/>
                          <a:cs typeface="Arial" panose="020B0604020202020204" pitchFamily="34" charset="0"/>
                        </a:rPr>
                        <a:t>5%</a:t>
                      </a:r>
                      <a:endParaRPr lang="en-GB"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GB" sz="1100" u="none" strike="noStrike" dirty="0">
                          <a:effectLst/>
                          <a:latin typeface="Arial" panose="020B0604020202020204" pitchFamily="34" charset="0"/>
                          <a:cs typeface="Arial" panose="020B0604020202020204" pitchFamily="34" charset="0"/>
                        </a:rPr>
                        <a:t>5%</a:t>
                      </a:r>
                      <a:endParaRPr lang="en-GB"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64015834"/>
                  </a:ext>
                </a:extLst>
              </a:tr>
              <a:tr h="190500">
                <a:tc>
                  <a:txBody>
                    <a:bodyPr/>
                    <a:lstStyle/>
                    <a:p>
                      <a:pPr algn="r" fontAlgn="b"/>
                      <a:r>
                        <a:rPr lang="en-GB" sz="1100" u="none" strike="noStrike" dirty="0">
                          <a:effectLst/>
                          <a:latin typeface="Arial" panose="020B0604020202020204" pitchFamily="34" charset="0"/>
                          <a:cs typeface="Arial" panose="020B0604020202020204" pitchFamily="34" charset="0"/>
                        </a:rPr>
                        <a:t>Oct-21</a:t>
                      </a:r>
                      <a:endParaRPr lang="en-GB"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GB" sz="1100" u="none" strike="noStrike" dirty="0">
                          <a:effectLst/>
                          <a:latin typeface="Arial" panose="020B0604020202020204" pitchFamily="34" charset="0"/>
                          <a:cs typeface="Arial" panose="020B0604020202020204" pitchFamily="34" charset="0"/>
                        </a:rPr>
                        <a:t>30%</a:t>
                      </a:r>
                      <a:endParaRPr lang="en-GB"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GB" sz="1100" u="none" strike="noStrike" dirty="0">
                          <a:effectLst/>
                          <a:latin typeface="Arial" panose="020B0604020202020204" pitchFamily="34" charset="0"/>
                          <a:cs typeface="Arial" panose="020B0604020202020204" pitchFamily="34" charset="0"/>
                        </a:rPr>
                        <a:t>15%</a:t>
                      </a:r>
                      <a:endParaRPr lang="en-GB"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GB" sz="1100" u="none" strike="noStrike" dirty="0">
                          <a:effectLst/>
                          <a:latin typeface="Arial" panose="020B0604020202020204" pitchFamily="34" charset="0"/>
                          <a:cs typeface="Arial" panose="020B0604020202020204" pitchFamily="34" charset="0"/>
                        </a:rPr>
                        <a:t>8%</a:t>
                      </a:r>
                      <a:endParaRPr lang="en-GB"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GB" sz="1100" u="none" strike="noStrike" dirty="0">
                          <a:effectLst/>
                          <a:latin typeface="Arial" panose="020B0604020202020204" pitchFamily="34" charset="0"/>
                          <a:cs typeface="Arial" panose="020B0604020202020204" pitchFamily="34" charset="0"/>
                        </a:rPr>
                        <a:t>3%</a:t>
                      </a:r>
                      <a:endParaRPr lang="en-GB"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95855015"/>
                  </a:ext>
                </a:extLst>
              </a:tr>
              <a:tr h="190500">
                <a:tc>
                  <a:txBody>
                    <a:bodyPr/>
                    <a:lstStyle/>
                    <a:p>
                      <a:pPr algn="r" fontAlgn="b"/>
                      <a:r>
                        <a:rPr lang="en-GB" sz="1100" u="none" strike="noStrike" dirty="0">
                          <a:effectLst/>
                          <a:latin typeface="Arial" panose="020B0604020202020204" pitchFamily="34" charset="0"/>
                          <a:cs typeface="Arial" panose="020B0604020202020204" pitchFamily="34" charset="0"/>
                        </a:rPr>
                        <a:t>Nov-21*</a:t>
                      </a:r>
                      <a:endParaRPr lang="en-GB"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GB" sz="1100" u="none" strike="noStrike" dirty="0">
                          <a:effectLst/>
                          <a:latin typeface="Arial" panose="020B0604020202020204" pitchFamily="34" charset="0"/>
                          <a:cs typeface="Arial" panose="020B0604020202020204" pitchFamily="34" charset="0"/>
                        </a:rPr>
                        <a:t>39%</a:t>
                      </a:r>
                      <a:endParaRPr lang="en-GB"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GB" sz="1100" u="none" strike="noStrike" dirty="0">
                          <a:effectLst/>
                          <a:latin typeface="Arial" panose="020B0604020202020204" pitchFamily="34" charset="0"/>
                          <a:cs typeface="Arial" panose="020B0604020202020204" pitchFamily="34" charset="0"/>
                        </a:rPr>
                        <a:t>23%</a:t>
                      </a:r>
                      <a:endParaRPr lang="en-GB"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GB" sz="1100" u="none" strike="noStrike" dirty="0">
                          <a:effectLst/>
                          <a:latin typeface="Arial" panose="020B0604020202020204" pitchFamily="34" charset="0"/>
                          <a:cs typeface="Arial" panose="020B0604020202020204" pitchFamily="34" charset="0"/>
                        </a:rPr>
                        <a:t>14%</a:t>
                      </a:r>
                      <a:endParaRPr lang="en-GB"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GB" sz="1100" u="none" strike="noStrike" dirty="0">
                          <a:effectLst/>
                          <a:latin typeface="Arial" panose="020B0604020202020204" pitchFamily="34" charset="0"/>
                          <a:cs typeface="Arial" panose="020B0604020202020204" pitchFamily="34" charset="0"/>
                        </a:rPr>
                        <a:t>9%</a:t>
                      </a:r>
                      <a:endParaRPr lang="en-GB"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32942918"/>
                  </a:ext>
                </a:extLst>
              </a:tr>
              <a:tr h="190500">
                <a:tc>
                  <a:txBody>
                    <a:bodyPr/>
                    <a:lstStyle/>
                    <a:p>
                      <a:pPr algn="r" fontAlgn="b"/>
                      <a:r>
                        <a:rPr lang="en-GB" sz="1100" u="none" strike="noStrike" dirty="0">
                          <a:effectLst/>
                          <a:latin typeface="Arial" panose="020B0604020202020204" pitchFamily="34" charset="0"/>
                          <a:cs typeface="Arial" panose="020B0604020202020204" pitchFamily="34" charset="0"/>
                        </a:rPr>
                        <a:t>Autumn 2021</a:t>
                      </a:r>
                      <a:endParaRPr lang="en-GB"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GB" sz="1100" u="none" strike="noStrike" dirty="0">
                          <a:effectLst/>
                          <a:latin typeface="Arial" panose="020B0604020202020204" pitchFamily="34" charset="0"/>
                          <a:cs typeface="Arial" panose="020B0604020202020204" pitchFamily="34" charset="0"/>
                        </a:rPr>
                        <a:t>26%</a:t>
                      </a:r>
                      <a:endParaRPr lang="en-GB"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GB" sz="1100" u="none" strike="noStrike" dirty="0">
                          <a:effectLst/>
                          <a:latin typeface="Arial" panose="020B0604020202020204" pitchFamily="34" charset="0"/>
                          <a:cs typeface="Arial" panose="020B0604020202020204" pitchFamily="34" charset="0"/>
                        </a:rPr>
                        <a:t>15%</a:t>
                      </a:r>
                      <a:endParaRPr lang="en-GB"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GB" sz="1100" u="none" strike="noStrike" dirty="0">
                          <a:effectLst/>
                          <a:latin typeface="Arial" panose="020B0604020202020204" pitchFamily="34" charset="0"/>
                          <a:cs typeface="Arial" panose="020B0604020202020204" pitchFamily="34" charset="0"/>
                        </a:rPr>
                        <a:t>9%</a:t>
                      </a:r>
                      <a:endParaRPr lang="en-GB"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GB" sz="1100" u="none" strike="noStrike" dirty="0">
                          <a:effectLst/>
                          <a:latin typeface="Arial" panose="020B0604020202020204" pitchFamily="34" charset="0"/>
                          <a:cs typeface="Arial" panose="020B0604020202020204" pitchFamily="34" charset="0"/>
                        </a:rPr>
                        <a:t>6%</a:t>
                      </a:r>
                      <a:endParaRPr lang="en-GB"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62116553"/>
                  </a:ext>
                </a:extLst>
              </a:tr>
              <a:tr h="190500">
                <a:tc>
                  <a:txBody>
                    <a:bodyPr/>
                    <a:lstStyle/>
                    <a:p>
                      <a:pPr algn="r" fontAlgn="b"/>
                      <a:r>
                        <a:rPr lang="en-GB" sz="1100" b="0" i="0" u="none" strike="noStrike" dirty="0">
                          <a:solidFill>
                            <a:srgbClr val="000000"/>
                          </a:solidFill>
                          <a:effectLst/>
                          <a:latin typeface="Arial" panose="020B0604020202020204" pitchFamily="34" charset="0"/>
                          <a:cs typeface="Arial" panose="020B0604020202020204" pitchFamily="34" charset="0"/>
                        </a:rPr>
                        <a:t>202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GB" sz="1100" b="0" i="0" u="none" strike="noStrike" dirty="0">
                          <a:solidFill>
                            <a:srgbClr val="000000"/>
                          </a:solidFill>
                          <a:effectLst/>
                          <a:latin typeface="Arial" panose="020B0604020202020204" pitchFamily="34" charset="0"/>
                          <a:cs typeface="Arial" panose="020B0604020202020204" pitchFamily="34" charset="0"/>
                        </a:rPr>
                        <a:t>1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GB" sz="1100" b="0" i="0" u="none" strike="noStrike" dirty="0">
                          <a:solidFill>
                            <a:srgbClr val="000000"/>
                          </a:solidFill>
                          <a:effectLst/>
                          <a:latin typeface="Arial" panose="020B0604020202020204" pitchFamily="34" charset="0"/>
                          <a:cs typeface="Arial" panose="020B0604020202020204" pitchFamily="34" charset="0"/>
                        </a:rPr>
                        <a:t>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GB" sz="1100" b="0" i="0" u="none" strike="noStrike" dirty="0">
                          <a:solidFill>
                            <a:srgbClr val="000000"/>
                          </a:solidFill>
                          <a:effectLst/>
                          <a:latin typeface="Arial" panose="020B0604020202020204" pitchFamily="34" charset="0"/>
                          <a:cs typeface="Arial" panose="020B0604020202020204" pitchFamily="34" charset="0"/>
                        </a:rPr>
                        <a:t>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GB" sz="1100" b="0" i="0" u="none" strike="noStrike" dirty="0">
                          <a:solidFill>
                            <a:srgbClr val="000000"/>
                          </a:solidFill>
                          <a:effectLst/>
                          <a:latin typeface="Arial" panose="020B0604020202020204" pitchFamily="34" charset="0"/>
                          <a:cs typeface="Arial" panose="020B0604020202020204" pitchFamily="34" charset="0"/>
                        </a:rPr>
                        <a:t>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56015410"/>
                  </a:ext>
                </a:extLst>
              </a:tr>
              <a:tr h="190500">
                <a:tc>
                  <a:txBody>
                    <a:bodyPr/>
                    <a:lstStyle/>
                    <a:p>
                      <a:pPr algn="r" fontAlgn="b"/>
                      <a:r>
                        <a:rPr lang="en-GB" sz="1100" u="none" strike="noStrike" dirty="0">
                          <a:effectLst/>
                          <a:latin typeface="Arial" panose="020B0604020202020204" pitchFamily="34" charset="0"/>
                          <a:cs typeface="Arial" panose="020B0604020202020204" pitchFamily="34" charset="0"/>
                        </a:rPr>
                        <a:t>2017-2021</a:t>
                      </a:r>
                      <a:endParaRPr lang="en-GB"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GB" sz="1100" u="none" strike="noStrike" dirty="0">
                          <a:effectLst/>
                          <a:latin typeface="Arial" panose="020B0604020202020204" pitchFamily="34" charset="0"/>
                          <a:cs typeface="Arial" panose="020B0604020202020204" pitchFamily="34" charset="0"/>
                        </a:rPr>
                        <a:t>5%</a:t>
                      </a:r>
                      <a:endParaRPr lang="en-GB"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GB" sz="1100" u="none" strike="noStrike" dirty="0">
                          <a:effectLst/>
                          <a:latin typeface="Arial" panose="020B0604020202020204" pitchFamily="34" charset="0"/>
                          <a:cs typeface="Arial" panose="020B0604020202020204" pitchFamily="34" charset="0"/>
                        </a:rPr>
                        <a:t>2%</a:t>
                      </a:r>
                      <a:endParaRPr lang="en-GB"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GB" sz="1100" u="none" strike="noStrike" dirty="0">
                          <a:effectLst/>
                          <a:latin typeface="Arial" panose="020B0604020202020204" pitchFamily="34" charset="0"/>
                          <a:cs typeface="Arial" panose="020B0604020202020204" pitchFamily="34" charset="0"/>
                        </a:rPr>
                        <a:t>1%</a:t>
                      </a:r>
                      <a:endParaRPr lang="en-GB"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GB" sz="1100" u="none" strike="noStrike" dirty="0">
                          <a:effectLst/>
                          <a:latin typeface="Arial" panose="020B0604020202020204" pitchFamily="34" charset="0"/>
                          <a:cs typeface="Arial" panose="020B0604020202020204" pitchFamily="34" charset="0"/>
                        </a:rPr>
                        <a:t>0%</a:t>
                      </a:r>
                      <a:endParaRPr lang="en-GB"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84059870"/>
                  </a:ext>
                </a:extLst>
              </a:tr>
            </a:tbl>
          </a:graphicData>
        </a:graphic>
      </p:graphicFrame>
      <p:sp>
        <p:nvSpPr>
          <p:cNvPr id="6" name="TextBox 5">
            <a:extLst>
              <a:ext uri="{FF2B5EF4-FFF2-40B4-BE49-F238E27FC236}">
                <a16:creationId xmlns:a16="http://schemas.microsoft.com/office/drawing/2014/main" id="{D52CA707-835C-4A53-9C90-1F843553D320}"/>
              </a:ext>
            </a:extLst>
          </p:cNvPr>
          <p:cNvSpPr txBox="1"/>
          <p:nvPr/>
        </p:nvSpPr>
        <p:spPr>
          <a:xfrm>
            <a:off x="240862" y="1202218"/>
            <a:ext cx="4151630" cy="276999"/>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Helvetica Neue Light" panose="02000403000000020004" pitchFamily="2" charset="0"/>
                <a:cs typeface="Arial" panose="020B0604020202020204" pitchFamily="34" charset="0"/>
              </a:rPr>
              <a:t>*Data up to 24</a:t>
            </a:r>
            <a:r>
              <a:rPr kumimoji="0" lang="en-GB" sz="1200" b="0" i="0" u="none" strike="noStrike" kern="1200" cap="none" spc="0" normalizeH="0" baseline="30000" noProof="0" dirty="0">
                <a:ln>
                  <a:noFill/>
                </a:ln>
                <a:solidFill>
                  <a:srgbClr val="000000"/>
                </a:solidFill>
                <a:effectLst/>
                <a:uLnTx/>
                <a:uFillTx/>
                <a:latin typeface="Arial" panose="020B0604020202020204" pitchFamily="34" charset="0"/>
                <a:ea typeface="Helvetica Neue Light" panose="02000403000000020004" pitchFamily="2" charset="0"/>
                <a:cs typeface="Arial" panose="020B0604020202020204" pitchFamily="34" charset="0"/>
              </a:rPr>
              <a:t>th</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Helvetica Neue Light" panose="02000403000000020004" pitchFamily="2" charset="0"/>
                <a:cs typeface="Arial" panose="020B0604020202020204" pitchFamily="34" charset="0"/>
              </a:rPr>
              <a:t> November (latest SF data) </a:t>
            </a:r>
          </a:p>
        </p:txBody>
      </p:sp>
      <p:sp>
        <p:nvSpPr>
          <p:cNvPr id="7" name="TextBox 6">
            <a:extLst>
              <a:ext uri="{FF2B5EF4-FFF2-40B4-BE49-F238E27FC236}">
                <a16:creationId xmlns:a16="http://schemas.microsoft.com/office/drawing/2014/main" id="{E93AE0EF-B628-41C3-BD4E-59B382823C45}"/>
              </a:ext>
            </a:extLst>
          </p:cNvPr>
          <p:cNvSpPr txBox="1"/>
          <p:nvPr/>
        </p:nvSpPr>
        <p:spPr>
          <a:xfrm>
            <a:off x="6096000" y="1218833"/>
            <a:ext cx="5572611" cy="2492990"/>
          </a:xfrm>
          <a:prstGeom prst="rect">
            <a:avLst/>
          </a:prstGeom>
          <a:ln>
            <a:noFill/>
          </a:ln>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Helvetica Neue Light" panose="02000403000000020004" pitchFamily="2" charset="0"/>
                <a:cs typeface="Arial" panose="020B0604020202020204" pitchFamily="34" charset="0"/>
              </a:rPr>
              <a:t>Table on the left indicates % of Settlement Periods affected by different price ca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Helvetica Neue Light" panose="02000403000000020004" pitchFamily="2" charset="0"/>
                <a:cs typeface="Arial" panose="020B0604020202020204" pitchFamily="34" charset="0"/>
              </a:rPr>
              <a:t>Prior to September 2021, a price cap of £10/MWh would typically have affected between 5-10% of Settlement Perio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Helvetica Neue Light" panose="02000403000000020004" pitchFamily="2" charset="0"/>
                <a:cs typeface="Arial" panose="020B0604020202020204" pitchFamily="34" charset="0"/>
              </a:rPr>
              <a:t>This indicates that such SPs are not unforeseen, as based on the historical average more than one SP reaches £10/MWh per da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Helvetica Neue Light" panose="02000403000000020004" pitchFamily="2" charset="0"/>
                <a:cs typeface="Arial" panose="020B0604020202020204" pitchFamily="34" charset="0"/>
              </a:rPr>
              <a:t>In Autumn 2021 a £10/MWh cap would have affected around 26% of S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Helvetica Neue Light" panose="02000403000000020004" pitchFamily="2" charset="0"/>
                <a:cs typeface="Arial" panose="020B0604020202020204" pitchFamily="34" charset="0"/>
              </a:rPr>
              <a:t>That means it is no longer affecting “exceptional” settlement periods, since 1 in 4 would be capp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Helvetica Neue Light" panose="02000403000000020004" pitchFamily="2" charset="0"/>
                <a:cs typeface="Arial" panose="020B0604020202020204" pitchFamily="34" charset="0"/>
              </a:rPr>
              <a:t>Where previously a £10/MWh was used for COVID, that affected around 7% of SPs in that perio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Helvetica Neue Light" panose="02000403000000020004" pitchFamily="2" charset="0"/>
                <a:cs typeface="Arial" panose="020B0604020202020204" pitchFamily="34" charset="0"/>
              </a:rPr>
              <a:t>To affect an equivalent amount of SPs in Autumn 2021, a cap in the range of £20-£25MWh would have been needed</a:t>
            </a:r>
          </a:p>
        </p:txBody>
      </p:sp>
      <p:sp>
        <p:nvSpPr>
          <p:cNvPr id="8" name="TextBox 7">
            <a:extLst>
              <a:ext uri="{FF2B5EF4-FFF2-40B4-BE49-F238E27FC236}">
                <a16:creationId xmlns:a16="http://schemas.microsoft.com/office/drawing/2014/main" id="{5F11F905-B2DA-4B5A-A7C9-379090B8C445}"/>
              </a:ext>
            </a:extLst>
          </p:cNvPr>
          <p:cNvSpPr txBox="1"/>
          <p:nvPr/>
        </p:nvSpPr>
        <p:spPr>
          <a:xfrm>
            <a:off x="240862" y="4226107"/>
            <a:ext cx="10001435" cy="830997"/>
          </a:xfrm>
          <a:prstGeom prst="rect">
            <a:avLst/>
          </a:prstGeom>
          <a:ln>
            <a:noFill/>
          </a:ln>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Helvetica Neue Light" panose="02000403000000020004" pitchFamily="2" charset="0"/>
                <a:cs typeface="Arial" panose="020B0604020202020204" pitchFamily="34" charset="0"/>
              </a:rPr>
              <a:t>High BSUoS costs are driven by a relatively small number of particularly high cost Settlement Perio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Helvetica Neue Light" panose="02000403000000020004" pitchFamily="2" charset="0"/>
                <a:cs typeface="Arial" panose="020B0604020202020204" pitchFamily="34" charset="0"/>
              </a:rPr>
              <a:t>Since April 2017, only 70 SPs have had a BSUoS cost above £50/MWh - all of these have occurred since September 2021</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Helvetica Neue Light" panose="02000403000000020004" pitchFamily="2" charset="0"/>
                <a:cs typeface="Arial" panose="020B0604020202020204" pitchFamily="34" charset="0"/>
              </a:rPr>
              <a:t>If a £50/MWh cap had been put in place from 1</a:t>
            </a:r>
            <a:r>
              <a:rPr kumimoji="0" lang="en-GB" sz="1200" b="0" i="0" u="none" strike="noStrike" kern="1200" cap="none" spc="0" normalizeH="0" baseline="30000" noProof="0" dirty="0">
                <a:ln>
                  <a:noFill/>
                </a:ln>
                <a:solidFill>
                  <a:srgbClr val="000000"/>
                </a:solidFill>
                <a:effectLst/>
                <a:uLnTx/>
                <a:uFillTx/>
                <a:latin typeface="Arial" panose="020B0604020202020204" pitchFamily="34" charset="0"/>
                <a:ea typeface="Helvetica Neue Light" panose="02000403000000020004" pitchFamily="2" charset="0"/>
                <a:cs typeface="Arial" panose="020B0604020202020204" pitchFamily="34" charset="0"/>
              </a:rPr>
              <a:t>st</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Helvetica Neue Light" panose="02000403000000020004" pitchFamily="2" charset="0"/>
                <a:cs typeface="Arial" panose="020B0604020202020204" pitchFamily="34" charset="0"/>
              </a:rPr>
              <a:t> Sep – 24</a:t>
            </a:r>
            <a:r>
              <a:rPr kumimoji="0" lang="en-GB" sz="1200" b="0" i="0" u="none" strike="noStrike" kern="1200" cap="none" spc="0" normalizeH="0" baseline="30000" noProof="0" dirty="0">
                <a:ln>
                  <a:noFill/>
                </a:ln>
                <a:solidFill>
                  <a:srgbClr val="000000"/>
                </a:solidFill>
                <a:effectLst/>
                <a:uLnTx/>
                <a:uFillTx/>
                <a:latin typeface="Arial" panose="020B0604020202020204" pitchFamily="34" charset="0"/>
                <a:ea typeface="Helvetica Neue Light" panose="02000403000000020004" pitchFamily="2" charset="0"/>
                <a:cs typeface="Arial" panose="020B0604020202020204" pitchFamily="34" charset="0"/>
              </a:rPr>
              <a:t>th</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Helvetica Neue Light" panose="02000403000000020004" pitchFamily="2" charset="0"/>
                <a:cs typeface="Arial" panose="020B0604020202020204" pitchFamily="34" charset="0"/>
              </a:rPr>
              <a:t> Nov 2021, £58.3m of BSUoS costs would have been deferred over those 70 SP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Helvetica Neue Light" panose="02000403000000020004" pitchFamily="2" charset="0"/>
                <a:cs typeface="Arial" panose="020B0604020202020204" pitchFamily="34" charset="0"/>
              </a:rPr>
              <a:t>Therefore, a £50/MWh cap could be reasonable if focussing on cost extremities </a:t>
            </a:r>
          </a:p>
        </p:txBody>
      </p:sp>
    </p:spTree>
    <p:extLst>
      <p:ext uri="{BB962C8B-B14F-4D97-AF65-F5344CB8AC3E}">
        <p14:creationId xmlns:p14="http://schemas.microsoft.com/office/powerpoint/2010/main" val="32747799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988FD65-247D-4210-B048-12258ADD0D92}"/>
              </a:ext>
            </a:extLst>
          </p:cNvPr>
          <p:cNvSpPr>
            <a:spLocks noGrp="1"/>
          </p:cNvSpPr>
          <p:nvPr>
            <p:ph type="body" sz="quarter" idx="11"/>
          </p:nvPr>
        </p:nvSpPr>
        <p:spPr>
          <a:xfrm>
            <a:off x="1781443" y="1871462"/>
            <a:ext cx="9021236" cy="773569"/>
          </a:xfrm>
        </p:spPr>
        <p:txBody>
          <a:bodyPr/>
          <a:lstStyle/>
          <a:p>
            <a:r>
              <a:rPr lang="en-GB" b="1" dirty="0"/>
              <a:t>Modification Process</a:t>
            </a:r>
          </a:p>
        </p:txBody>
      </p:sp>
      <p:sp>
        <p:nvSpPr>
          <p:cNvPr id="2" name="Rectangle 1">
            <a:extLst>
              <a:ext uri="{FF2B5EF4-FFF2-40B4-BE49-F238E27FC236}">
                <a16:creationId xmlns:a16="http://schemas.microsoft.com/office/drawing/2014/main" id="{B3092A0B-1CB9-47C9-8A53-DE5D46254E81}"/>
              </a:ext>
            </a:extLst>
          </p:cNvPr>
          <p:cNvSpPr/>
          <p:nvPr/>
        </p:nvSpPr>
        <p:spPr>
          <a:xfrm>
            <a:off x="1652488" y="2933189"/>
            <a:ext cx="6130072" cy="461665"/>
          </a:xfrm>
          <a:prstGeom prst="rect">
            <a:avLst/>
          </a:prstGeom>
          <a:solidFill>
            <a:schemeClr val="bg1"/>
          </a:solid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dirty="0">
              <a:ln>
                <a:noFill/>
              </a:ln>
              <a:solidFill>
                <a:srgbClr val="000000"/>
              </a:solidFill>
              <a:effectLst/>
              <a:uLnTx/>
              <a:uFillTx/>
              <a:latin typeface="Helvetica Neue LT Std 45 Light" panose="020B0403020202020204" pitchFamily="34" charset="0"/>
              <a:ea typeface="+mn-ea"/>
              <a:cs typeface="+mn-cs"/>
            </a:endParaRPr>
          </a:p>
        </p:txBody>
      </p:sp>
      <p:sp>
        <p:nvSpPr>
          <p:cNvPr id="6" name="Text Placeholder 1">
            <a:extLst>
              <a:ext uri="{FF2B5EF4-FFF2-40B4-BE49-F238E27FC236}">
                <a16:creationId xmlns:a16="http://schemas.microsoft.com/office/drawing/2014/main" id="{4C3C9828-54A3-4BC1-A438-A846337C2A04}"/>
              </a:ext>
            </a:extLst>
          </p:cNvPr>
          <p:cNvSpPr txBox="1">
            <a:spLocks/>
          </p:cNvSpPr>
          <p:nvPr/>
        </p:nvSpPr>
        <p:spPr>
          <a:xfrm>
            <a:off x="1781443" y="2645031"/>
            <a:ext cx="7079317" cy="1677988"/>
          </a:xfrm>
          <a:prstGeom prst="rect">
            <a:avLst/>
          </a:prstGeom>
        </p:spPr>
        <p:txBody>
          <a:bodyPr/>
          <a:lstStyle>
            <a:lvl1pPr marL="0" indent="0" algn="l" defTabSz="914377" rtl="0" eaLnBrk="1" latinLnBrk="0" hangingPunct="1">
              <a:lnSpc>
                <a:spcPct val="90000"/>
              </a:lnSpc>
              <a:spcBef>
                <a:spcPts val="1000"/>
              </a:spcBef>
              <a:buFont typeface="Arial" panose="020B0604020202020204" pitchFamily="34" charset="0"/>
              <a:buNone/>
              <a:defRPr sz="1600" b="0" i="0" kern="1200">
                <a:solidFill>
                  <a:srgbClr val="FFBF22"/>
                </a:solidFill>
                <a:latin typeface="Helvetica Neue LT Std 45 Light" panose="020B0403020202020204" pitchFamily="34"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800" b="0" i="0" kern="1200">
                <a:solidFill>
                  <a:srgbClr val="E8BC28"/>
                </a:solidFill>
                <a:latin typeface="Helvetica Neue LT Std 45 Light" panose="020B0403020202020204" pitchFamily="34" charset="0"/>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600" b="0" i="0" kern="1200">
                <a:solidFill>
                  <a:srgbClr val="E8BC28"/>
                </a:solidFill>
                <a:latin typeface="Helvetica Neue LT Std 45 Light" panose="020B0403020202020204" pitchFamily="34" charset="0"/>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b="0" i="0" kern="1200">
                <a:solidFill>
                  <a:srgbClr val="E8BC28"/>
                </a:solidFill>
                <a:latin typeface="Helvetica Neue LT Std 45 Light" panose="020B0403020202020204" pitchFamily="34" charset="0"/>
                <a:ea typeface="+mn-ea"/>
                <a:cs typeface="+mn-cs"/>
              </a:defRPr>
            </a:lvl4pPr>
            <a:lvl5pPr marL="1828755" indent="0" algn="l" defTabSz="914377" rtl="0" eaLnBrk="1" latinLnBrk="0" hangingPunct="1">
              <a:lnSpc>
                <a:spcPct val="90000"/>
              </a:lnSpc>
              <a:spcBef>
                <a:spcPts val="500"/>
              </a:spcBef>
              <a:buFont typeface="Arial" panose="020B0604020202020204" pitchFamily="34" charset="0"/>
              <a:buNone/>
              <a:defRPr sz="1400" b="0" i="0" kern="1200">
                <a:solidFill>
                  <a:srgbClr val="E8BC28"/>
                </a:solidFill>
                <a:latin typeface="Helvetica Neue LT Std 45 Light" panose="020B04030202020202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dirty="0">
                <a:solidFill>
                  <a:srgbClr val="0079C1"/>
                </a:solidFill>
                <a:latin typeface="Arial" panose="020B0604020202020204" pitchFamily="34" charset="0"/>
                <a:cs typeface="Arial" panose="020B0604020202020204" pitchFamily="34" charset="0"/>
              </a:rPr>
              <a:t>Paul Mullen – National Grid ESO Code Administrator</a:t>
            </a:r>
          </a:p>
        </p:txBody>
      </p:sp>
    </p:spTree>
    <p:extLst>
      <p:ext uri="{BB962C8B-B14F-4D97-AF65-F5344CB8AC3E}">
        <p14:creationId xmlns:p14="http://schemas.microsoft.com/office/powerpoint/2010/main" val="9265874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5962E1F-3E2E-4800-B746-C2585194061B}"/>
              </a:ext>
            </a:extLst>
          </p:cNvPr>
          <p:cNvSpPr>
            <a:spLocks noGrp="1"/>
          </p:cNvSpPr>
          <p:nvPr>
            <p:ph type="body" sz="quarter" idx="10"/>
          </p:nvPr>
        </p:nvSpPr>
        <p:spPr>
          <a:xfrm>
            <a:off x="1697038" y="2693399"/>
            <a:ext cx="7079317" cy="1677988"/>
          </a:xfrm>
        </p:spPr>
        <p:txBody>
          <a:bodyPr/>
          <a:lstStyle/>
          <a:p>
            <a:r>
              <a:rPr lang="en-GB" sz="1800" b="1" dirty="0">
                <a:solidFill>
                  <a:srgbClr val="0079C1"/>
                </a:solidFill>
                <a:latin typeface="Arial" panose="020B0604020202020204" pitchFamily="34" charset="0"/>
                <a:cs typeface="Arial" panose="020B0604020202020204" pitchFamily="34" charset="0"/>
              </a:rPr>
              <a:t>Paul Mullen - National Grid ESO Code Administrator</a:t>
            </a:r>
          </a:p>
        </p:txBody>
      </p:sp>
      <p:sp>
        <p:nvSpPr>
          <p:cNvPr id="3" name="Text Placeholder 2">
            <a:extLst>
              <a:ext uri="{FF2B5EF4-FFF2-40B4-BE49-F238E27FC236}">
                <a16:creationId xmlns:a16="http://schemas.microsoft.com/office/drawing/2014/main" id="{C9BE2949-70F1-4A3B-B3AF-B6A47E266139}"/>
              </a:ext>
            </a:extLst>
          </p:cNvPr>
          <p:cNvSpPr>
            <a:spLocks noGrp="1"/>
          </p:cNvSpPr>
          <p:nvPr>
            <p:ph type="body" sz="quarter" idx="11"/>
          </p:nvPr>
        </p:nvSpPr>
        <p:spPr/>
        <p:txBody>
          <a:bodyPr/>
          <a:lstStyle/>
          <a:p>
            <a:r>
              <a:rPr lang="en-GB" b="1" dirty="0"/>
              <a:t>Next Steps</a:t>
            </a:r>
          </a:p>
        </p:txBody>
      </p:sp>
    </p:spTree>
    <p:extLst>
      <p:ext uri="{BB962C8B-B14F-4D97-AF65-F5344CB8AC3E}">
        <p14:creationId xmlns:p14="http://schemas.microsoft.com/office/powerpoint/2010/main" val="22274453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F3CCC6-E65B-4843-B9B0-BCAB00B183A2}"/>
              </a:ext>
            </a:extLst>
          </p:cNvPr>
          <p:cNvSpPr>
            <a:spLocks noGrp="1"/>
          </p:cNvSpPr>
          <p:nvPr>
            <p:ph type="title"/>
          </p:nvPr>
        </p:nvSpPr>
        <p:spPr/>
        <p:txBody>
          <a:bodyPr/>
          <a:lstStyle/>
          <a:p>
            <a:r>
              <a:rPr lang="en-US" dirty="0"/>
              <a:t>Code Modification Process Overview</a:t>
            </a:r>
          </a:p>
        </p:txBody>
      </p:sp>
      <p:grpSp>
        <p:nvGrpSpPr>
          <p:cNvPr id="4" name="Group 3">
            <a:extLst>
              <a:ext uri="{FF2B5EF4-FFF2-40B4-BE49-F238E27FC236}">
                <a16:creationId xmlns:a16="http://schemas.microsoft.com/office/drawing/2014/main" id="{2620A8A9-43BB-4E96-88B1-AC0DB87F97E2}"/>
              </a:ext>
            </a:extLst>
          </p:cNvPr>
          <p:cNvGrpSpPr/>
          <p:nvPr/>
        </p:nvGrpSpPr>
        <p:grpSpPr>
          <a:xfrm>
            <a:off x="108047" y="1980586"/>
            <a:ext cx="11975906" cy="3098656"/>
            <a:chOff x="134203" y="788159"/>
            <a:chExt cx="11975906" cy="3098656"/>
          </a:xfrm>
        </p:grpSpPr>
        <p:sp>
          <p:nvSpPr>
            <p:cNvPr id="5" name="Rectangle 4">
              <a:extLst>
                <a:ext uri="{FF2B5EF4-FFF2-40B4-BE49-F238E27FC236}">
                  <a16:creationId xmlns:a16="http://schemas.microsoft.com/office/drawing/2014/main" id="{93B2B6C3-CFF4-425E-97DB-26302E23F667}"/>
                </a:ext>
              </a:extLst>
            </p:cNvPr>
            <p:cNvSpPr/>
            <p:nvPr/>
          </p:nvSpPr>
          <p:spPr>
            <a:xfrm>
              <a:off x="8231872" y="1936841"/>
              <a:ext cx="1796954" cy="1080447"/>
            </a:xfrm>
            <a:prstGeom prst="rect">
              <a:avLst/>
            </a:prstGeom>
            <a:solidFill>
              <a:srgbClr val="C3460B"/>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Arial"/>
                  <a:ea typeface="+mn-ea"/>
                  <a:cs typeface="Calibri"/>
                </a:rPr>
                <a:t>Decision</a:t>
              </a:r>
              <a:endPar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Calibri"/>
              </a:endParaRPr>
            </a:p>
          </p:txBody>
        </p:sp>
        <p:sp>
          <p:nvSpPr>
            <p:cNvPr id="6" name="Rectangle 5">
              <a:extLst>
                <a:ext uri="{FF2B5EF4-FFF2-40B4-BE49-F238E27FC236}">
                  <a16:creationId xmlns:a16="http://schemas.microsoft.com/office/drawing/2014/main" id="{656DE708-D886-4674-B970-511715807FD4}"/>
                </a:ext>
              </a:extLst>
            </p:cNvPr>
            <p:cNvSpPr/>
            <p:nvPr/>
          </p:nvSpPr>
          <p:spPr>
            <a:xfrm>
              <a:off x="6218828" y="1936842"/>
              <a:ext cx="1796954" cy="1080447"/>
            </a:xfrm>
            <a:prstGeom prst="rect">
              <a:avLst/>
            </a:prstGeom>
            <a:solidFill>
              <a:srgbClr val="C3460B"/>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Arial"/>
                  <a:ea typeface="+mn-ea"/>
                  <a:cs typeface="Calibri"/>
                </a:rPr>
                <a:t>Consult</a:t>
              </a:r>
            </a:p>
          </p:txBody>
        </p:sp>
        <p:sp>
          <p:nvSpPr>
            <p:cNvPr id="7" name="Rectangle 6">
              <a:extLst>
                <a:ext uri="{FF2B5EF4-FFF2-40B4-BE49-F238E27FC236}">
                  <a16:creationId xmlns:a16="http://schemas.microsoft.com/office/drawing/2014/main" id="{5A0879C5-E3D6-4A35-979A-F0D60F7EEA47}"/>
                </a:ext>
              </a:extLst>
            </p:cNvPr>
            <p:cNvSpPr/>
            <p:nvPr/>
          </p:nvSpPr>
          <p:spPr>
            <a:xfrm>
              <a:off x="4194411" y="1948216"/>
              <a:ext cx="1796954" cy="1080447"/>
            </a:xfrm>
            <a:prstGeom prst="rect">
              <a:avLst/>
            </a:prstGeom>
            <a:solidFill>
              <a:srgbClr val="C3460B"/>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Arial"/>
                  <a:ea typeface="+mn-ea"/>
                  <a:cs typeface="Calibri"/>
                </a:rPr>
                <a:t>Refine solution</a:t>
              </a:r>
            </a:p>
          </p:txBody>
        </p:sp>
        <p:sp>
          <p:nvSpPr>
            <p:cNvPr id="8" name="Rectangle 7">
              <a:extLst>
                <a:ext uri="{FF2B5EF4-FFF2-40B4-BE49-F238E27FC236}">
                  <a16:creationId xmlns:a16="http://schemas.microsoft.com/office/drawing/2014/main" id="{3EF3CC73-9800-4F5F-B824-7CB10D7B3F43}"/>
                </a:ext>
              </a:extLst>
            </p:cNvPr>
            <p:cNvSpPr/>
            <p:nvPr/>
          </p:nvSpPr>
          <p:spPr>
            <a:xfrm>
              <a:off x="2147247" y="1948217"/>
              <a:ext cx="1796954" cy="1080447"/>
            </a:xfrm>
            <a:prstGeom prst="rect">
              <a:avLst/>
            </a:prstGeom>
            <a:solidFill>
              <a:srgbClr val="C3460B"/>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Arial"/>
                  <a:ea typeface="+mn-ea"/>
                  <a:cs typeface="Calibri"/>
                </a:rPr>
                <a:t>Raise a mod</a:t>
              </a:r>
            </a:p>
          </p:txBody>
        </p:sp>
        <p:sp>
          <p:nvSpPr>
            <p:cNvPr id="9" name="Rectangle 8">
              <a:extLst>
                <a:ext uri="{FF2B5EF4-FFF2-40B4-BE49-F238E27FC236}">
                  <a16:creationId xmlns:a16="http://schemas.microsoft.com/office/drawing/2014/main" id="{7AEDA143-6F9C-4163-9374-AD41E87A4BAD}"/>
                </a:ext>
              </a:extLst>
            </p:cNvPr>
            <p:cNvSpPr/>
            <p:nvPr/>
          </p:nvSpPr>
          <p:spPr>
            <a:xfrm>
              <a:off x="134203" y="1936845"/>
              <a:ext cx="1796954" cy="1080447"/>
            </a:xfrm>
            <a:prstGeom prst="rect">
              <a:avLst/>
            </a:prstGeom>
            <a:solidFill>
              <a:srgbClr val="C346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Arial"/>
                  <a:ea typeface="+mn-ea"/>
                  <a:cs typeface="Calibri"/>
                </a:rPr>
                <a:t>Talk to us</a:t>
              </a:r>
              <a:endParaRPr kumimoji="0" lang="en-GB" sz="2400" b="0" i="0" u="none" strike="noStrike" kern="1200" cap="none" spc="0" normalizeH="0" baseline="0" noProof="0" dirty="0">
                <a:ln>
                  <a:noFill/>
                </a:ln>
                <a:solidFill>
                  <a:srgbClr val="FFFFFF"/>
                </a:solidFill>
                <a:effectLst/>
                <a:uLnTx/>
                <a:uFillTx/>
                <a:latin typeface="Arial"/>
                <a:ea typeface="+mn-ea"/>
                <a:cs typeface="Arial"/>
              </a:endParaRPr>
            </a:p>
          </p:txBody>
        </p:sp>
        <p:sp>
          <p:nvSpPr>
            <p:cNvPr id="10" name="Arrow: Right 9">
              <a:extLst>
                <a:ext uri="{FF2B5EF4-FFF2-40B4-BE49-F238E27FC236}">
                  <a16:creationId xmlns:a16="http://schemas.microsoft.com/office/drawing/2014/main" id="{68D05C74-3551-41E8-B17A-2D755131037C}"/>
                </a:ext>
              </a:extLst>
            </p:cNvPr>
            <p:cNvSpPr/>
            <p:nvPr/>
          </p:nvSpPr>
          <p:spPr>
            <a:xfrm>
              <a:off x="1826070" y="2255823"/>
              <a:ext cx="461598" cy="463265"/>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5FBC1896-2DD9-4554-83A3-542B53D9964D}"/>
                </a:ext>
              </a:extLst>
            </p:cNvPr>
            <p:cNvSpPr txBox="1"/>
            <p:nvPr/>
          </p:nvSpPr>
          <p:spPr>
            <a:xfrm>
              <a:off x="543560" y="3347447"/>
              <a:ext cx="1086665" cy="369332"/>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454546"/>
                  </a:solidFill>
                  <a:effectLst/>
                  <a:uLnTx/>
                  <a:uFillTx/>
                  <a:latin typeface="Arial"/>
                  <a:ea typeface="+mn-ea"/>
                  <a:cs typeface="Arial"/>
                </a:rPr>
                <a:t>Forums</a:t>
              </a:r>
              <a:r>
                <a:rPr kumimoji="0" lang="en-GB" sz="1800" b="0" i="0" u="none" strike="noStrike" kern="1200" cap="none" spc="0" normalizeH="0" baseline="0" noProof="0" dirty="0">
                  <a:ln>
                    <a:noFill/>
                  </a:ln>
                  <a:solidFill>
                    <a:srgbClr val="000000"/>
                  </a:solidFill>
                  <a:effectLst/>
                  <a:uLnTx/>
                  <a:uFillTx/>
                  <a:latin typeface="Arial"/>
                  <a:ea typeface="+mn-ea"/>
                  <a:cs typeface="Arial"/>
                </a:rPr>
                <a:t> </a:t>
              </a:r>
            </a:p>
          </p:txBody>
        </p:sp>
        <p:sp>
          <p:nvSpPr>
            <p:cNvPr id="12" name="TextBox 11">
              <a:extLst>
                <a:ext uri="{FF2B5EF4-FFF2-40B4-BE49-F238E27FC236}">
                  <a16:creationId xmlns:a16="http://schemas.microsoft.com/office/drawing/2014/main" id="{A8EB27BF-A331-4731-A030-84464875C064}"/>
                </a:ext>
              </a:extLst>
            </p:cNvPr>
            <p:cNvSpPr txBox="1"/>
            <p:nvPr/>
          </p:nvSpPr>
          <p:spPr>
            <a:xfrm>
              <a:off x="2624380" y="3361123"/>
              <a:ext cx="1800000" cy="369332"/>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454546"/>
                  </a:solidFill>
                  <a:effectLst/>
                  <a:uLnTx/>
                  <a:uFillTx/>
                  <a:latin typeface="Arial"/>
                  <a:ea typeface="+mn-ea"/>
                  <a:cs typeface="Arial"/>
                </a:rPr>
                <a:t>Panels</a:t>
              </a:r>
            </a:p>
          </p:txBody>
        </p:sp>
        <p:sp>
          <p:nvSpPr>
            <p:cNvPr id="13" name="TextBox 12">
              <a:extLst>
                <a:ext uri="{FF2B5EF4-FFF2-40B4-BE49-F238E27FC236}">
                  <a16:creationId xmlns:a16="http://schemas.microsoft.com/office/drawing/2014/main" id="{4CAF69A7-91AC-45ED-9AB1-64AA37004F4F}"/>
                </a:ext>
              </a:extLst>
            </p:cNvPr>
            <p:cNvSpPr txBox="1"/>
            <p:nvPr/>
          </p:nvSpPr>
          <p:spPr>
            <a:xfrm>
              <a:off x="3947448" y="3240484"/>
              <a:ext cx="4434623" cy="646331"/>
            </a:xfrm>
            <a:prstGeom prst="rect">
              <a:avLst/>
            </a:prstGeom>
            <a:noFill/>
          </p:spPr>
          <p:txBody>
            <a:bodyPr wrap="square" lIns="91440" tIns="45720" rIns="91440" bIns="45720" rtlCol="0" anchor="t">
              <a:spAutoFit/>
            </a:bodyPr>
            <a:lstStyle>
              <a:defPPr>
                <a:defRPr lang="en-US"/>
              </a:defPPr>
              <a:lvl1pPr>
                <a:defRPr>
                  <a:solidFill>
                    <a:srgbClr val="454546"/>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454546"/>
                  </a:solidFill>
                  <a:effectLst/>
                  <a:uLnTx/>
                  <a:uFillTx/>
                  <a:latin typeface="Arial"/>
                  <a:ea typeface="+mn-ea"/>
                  <a:cs typeface="Arial"/>
                </a:rPr>
                <a:t>Workgroups</a:t>
              </a:r>
              <a:endParaRPr kumimoji="0" lang="en-US" sz="1800" b="0" i="0" u="none" strike="noStrike" kern="1200" cap="none" spc="0" normalizeH="0" baseline="0" noProof="0" dirty="0">
                <a:ln>
                  <a:noFill/>
                </a:ln>
                <a:solidFill>
                  <a:srgbClr val="454546"/>
                </a:solidFill>
                <a:effectLst/>
                <a:uLnTx/>
                <a:uFillTx/>
                <a:latin typeface="Arial"/>
                <a:ea typeface="+mn-ea"/>
                <a:cs typeface="Arial"/>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454546"/>
                  </a:solidFill>
                  <a:effectLst/>
                  <a:uLnTx/>
                  <a:uFillTx/>
                  <a:latin typeface="Arial"/>
                  <a:ea typeface="+mn-ea"/>
                  <a:cs typeface="Arial"/>
                </a:rPr>
                <a:t>(Workgroup Consultations)</a:t>
              </a:r>
              <a:endParaRPr kumimoji="0" lang="en-US" sz="1800" b="0" i="0" u="none" strike="noStrike" kern="1200" cap="none" spc="0" normalizeH="0" baseline="0" noProof="0" dirty="0">
                <a:ln>
                  <a:noFill/>
                </a:ln>
                <a:solidFill>
                  <a:srgbClr val="454546"/>
                </a:solidFill>
                <a:effectLst/>
                <a:uLnTx/>
                <a:uFillTx/>
                <a:latin typeface="Arial"/>
                <a:ea typeface="+mn-ea"/>
                <a:cs typeface="Arial"/>
              </a:endParaRPr>
            </a:p>
          </p:txBody>
        </p:sp>
        <p:sp>
          <p:nvSpPr>
            <p:cNvPr id="14" name="TextBox 13">
              <a:extLst>
                <a:ext uri="{FF2B5EF4-FFF2-40B4-BE49-F238E27FC236}">
                  <a16:creationId xmlns:a16="http://schemas.microsoft.com/office/drawing/2014/main" id="{A521C411-D8AB-4469-BE88-B92AD7E43FF2}"/>
                </a:ext>
              </a:extLst>
            </p:cNvPr>
            <p:cNvSpPr txBox="1"/>
            <p:nvPr/>
          </p:nvSpPr>
          <p:spPr>
            <a:xfrm>
              <a:off x="8360919" y="3361123"/>
              <a:ext cx="2160000" cy="369332"/>
            </a:xfrm>
            <a:prstGeom prst="rect">
              <a:avLst/>
            </a:prstGeom>
            <a:noFill/>
          </p:spPr>
          <p:txBody>
            <a:bodyPr wrap="square" lIns="91440" tIns="45720" rIns="91440" bIns="45720" rtlCol="0" anchor="t">
              <a:spAutoFit/>
            </a:bodyPr>
            <a:lstStyle>
              <a:defPPr>
                <a:defRPr lang="en-US"/>
              </a:defPPr>
              <a:lvl1pPr>
                <a:defRPr>
                  <a:solidFill>
                    <a:srgbClr val="454546"/>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454546"/>
                  </a:solidFill>
                  <a:effectLst/>
                  <a:uLnTx/>
                  <a:uFillTx/>
                  <a:latin typeface="Arial"/>
                  <a:ea typeface="+mn-ea"/>
                  <a:cs typeface="Arial"/>
                </a:rPr>
                <a:t>Ofgem/Panel</a:t>
              </a:r>
            </a:p>
          </p:txBody>
        </p:sp>
        <p:pic>
          <p:nvPicPr>
            <p:cNvPr id="15" name="Graphic 2" descr="Chat">
              <a:extLst>
                <a:ext uri="{FF2B5EF4-FFF2-40B4-BE49-F238E27FC236}">
                  <a16:creationId xmlns:a16="http://schemas.microsoft.com/office/drawing/2014/main" id="{BF3BA4EF-C50C-455C-86D7-D4B1265A9C1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3248" y="913263"/>
              <a:ext cx="914400" cy="914400"/>
            </a:xfrm>
            <a:prstGeom prst="rect">
              <a:avLst/>
            </a:prstGeom>
          </p:spPr>
        </p:pic>
        <p:pic>
          <p:nvPicPr>
            <p:cNvPr id="16" name="Graphic 5" descr="Megaphone1">
              <a:extLst>
                <a:ext uri="{FF2B5EF4-FFF2-40B4-BE49-F238E27FC236}">
                  <a16:creationId xmlns:a16="http://schemas.microsoft.com/office/drawing/2014/main" id="{788D4306-B991-48C4-AFBA-ED3EFA4C439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75427" y="913263"/>
              <a:ext cx="914400" cy="914400"/>
            </a:xfrm>
            <a:prstGeom prst="rect">
              <a:avLst/>
            </a:prstGeom>
          </p:spPr>
        </p:pic>
        <p:pic>
          <p:nvPicPr>
            <p:cNvPr id="17" name="Graphic 8" descr="Meeting">
              <a:extLst>
                <a:ext uri="{FF2B5EF4-FFF2-40B4-BE49-F238E27FC236}">
                  <a16:creationId xmlns:a16="http://schemas.microsoft.com/office/drawing/2014/main" id="{26D291CD-717C-4591-B271-6783FD73760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637964" y="913263"/>
              <a:ext cx="914400" cy="914400"/>
            </a:xfrm>
            <a:prstGeom prst="rect">
              <a:avLst/>
            </a:prstGeom>
          </p:spPr>
        </p:pic>
        <p:pic>
          <p:nvPicPr>
            <p:cNvPr id="18" name="Graphic 9" descr="Document">
              <a:extLst>
                <a:ext uri="{FF2B5EF4-FFF2-40B4-BE49-F238E27FC236}">
                  <a16:creationId xmlns:a16="http://schemas.microsoft.com/office/drawing/2014/main" id="{D998BD49-9541-4D5B-8FA5-88FA3A365A3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677099" y="913263"/>
              <a:ext cx="914400" cy="914400"/>
            </a:xfrm>
            <a:prstGeom prst="rect">
              <a:avLst/>
            </a:prstGeom>
          </p:spPr>
        </p:pic>
        <p:pic>
          <p:nvPicPr>
            <p:cNvPr id="19" name="Graphic 3" descr="Group of people">
              <a:extLst>
                <a:ext uri="{FF2B5EF4-FFF2-40B4-BE49-F238E27FC236}">
                  <a16:creationId xmlns:a16="http://schemas.microsoft.com/office/drawing/2014/main" id="{D3CDDB32-BE54-428A-B755-90F62ECD001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662382" y="788159"/>
              <a:ext cx="914400" cy="914400"/>
            </a:xfrm>
            <a:prstGeom prst="rect">
              <a:avLst/>
            </a:prstGeom>
          </p:spPr>
        </p:pic>
        <p:pic>
          <p:nvPicPr>
            <p:cNvPr id="20" name="Graphic 5" descr="Person with idea">
              <a:extLst>
                <a:ext uri="{FF2B5EF4-FFF2-40B4-BE49-F238E27FC236}">
                  <a16:creationId xmlns:a16="http://schemas.microsoft.com/office/drawing/2014/main" id="{135F7D91-A147-4C7E-A661-CF4EF5C48F1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590800" y="913263"/>
              <a:ext cx="914400" cy="914400"/>
            </a:xfrm>
            <a:prstGeom prst="rect">
              <a:avLst/>
            </a:prstGeom>
          </p:spPr>
        </p:pic>
        <p:sp>
          <p:nvSpPr>
            <p:cNvPr id="21" name="Arrow: Right 20">
              <a:extLst>
                <a:ext uri="{FF2B5EF4-FFF2-40B4-BE49-F238E27FC236}">
                  <a16:creationId xmlns:a16="http://schemas.microsoft.com/office/drawing/2014/main" id="{62635EEA-EF81-4CA3-A277-D74BA0F55C5B}"/>
                </a:ext>
              </a:extLst>
            </p:cNvPr>
            <p:cNvSpPr/>
            <p:nvPr/>
          </p:nvSpPr>
          <p:spPr>
            <a:xfrm>
              <a:off x="3850487" y="2255822"/>
              <a:ext cx="461598" cy="463265"/>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2" name="Arrow: Right 21">
              <a:extLst>
                <a:ext uri="{FF2B5EF4-FFF2-40B4-BE49-F238E27FC236}">
                  <a16:creationId xmlns:a16="http://schemas.microsoft.com/office/drawing/2014/main" id="{FF277E85-551E-422F-9FDF-69ED5C2476B0}"/>
                </a:ext>
              </a:extLst>
            </p:cNvPr>
            <p:cNvSpPr/>
            <p:nvPr/>
          </p:nvSpPr>
          <p:spPr>
            <a:xfrm>
              <a:off x="5863531" y="2244448"/>
              <a:ext cx="461598" cy="463265"/>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3" name="Arrow: Right 22">
              <a:extLst>
                <a:ext uri="{FF2B5EF4-FFF2-40B4-BE49-F238E27FC236}">
                  <a16:creationId xmlns:a16="http://schemas.microsoft.com/office/drawing/2014/main" id="{64949571-EC38-4B43-94D4-B7161F3AB0FC}"/>
                </a:ext>
              </a:extLst>
            </p:cNvPr>
            <p:cNvSpPr/>
            <p:nvPr/>
          </p:nvSpPr>
          <p:spPr>
            <a:xfrm>
              <a:off x="7899321" y="2244447"/>
              <a:ext cx="461598" cy="463265"/>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367D1995-1683-401E-98CB-8C3D9EDCC282}"/>
                </a:ext>
              </a:extLst>
            </p:cNvPr>
            <p:cNvSpPr/>
            <p:nvPr/>
          </p:nvSpPr>
          <p:spPr>
            <a:xfrm>
              <a:off x="10313155" y="1936840"/>
              <a:ext cx="1796954" cy="1080447"/>
            </a:xfrm>
            <a:prstGeom prst="rect">
              <a:avLst/>
            </a:prstGeom>
            <a:solidFill>
              <a:srgbClr val="C3460B"/>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Arial"/>
                  <a:ea typeface="+mn-ea"/>
                  <a:cs typeface="Calibri"/>
                </a:rPr>
                <a:t>Implement</a:t>
              </a:r>
              <a:endPar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5" name="Arrow: Right 24">
              <a:extLst>
                <a:ext uri="{FF2B5EF4-FFF2-40B4-BE49-F238E27FC236}">
                  <a16:creationId xmlns:a16="http://schemas.microsoft.com/office/drawing/2014/main" id="{58530B10-37B0-4A07-BA25-68DC1BE1D147}"/>
                </a:ext>
              </a:extLst>
            </p:cNvPr>
            <p:cNvSpPr/>
            <p:nvPr/>
          </p:nvSpPr>
          <p:spPr>
            <a:xfrm>
              <a:off x="9923738" y="2244446"/>
              <a:ext cx="461598" cy="463265"/>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3118688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F3CCC6-E65B-4843-B9B0-BCAB00B183A2}"/>
              </a:ext>
            </a:extLst>
          </p:cNvPr>
          <p:cNvSpPr>
            <a:spLocks noGrp="1"/>
          </p:cNvSpPr>
          <p:nvPr>
            <p:ph type="title"/>
          </p:nvPr>
        </p:nvSpPr>
        <p:spPr/>
        <p:txBody>
          <a:bodyPr/>
          <a:lstStyle/>
          <a:p>
            <a:r>
              <a:rPr lang="en-US" dirty="0"/>
              <a:t>Refine solution</a:t>
            </a:r>
            <a:br>
              <a:rPr lang="en-US" dirty="0"/>
            </a:br>
            <a:r>
              <a:rPr lang="en-US" sz="3200" dirty="0"/>
              <a:t>Workgroups</a:t>
            </a:r>
            <a:endParaRPr lang="en-US" dirty="0"/>
          </a:p>
        </p:txBody>
      </p:sp>
      <p:sp>
        <p:nvSpPr>
          <p:cNvPr id="4" name="TextBox 3">
            <a:extLst>
              <a:ext uri="{FF2B5EF4-FFF2-40B4-BE49-F238E27FC236}">
                <a16:creationId xmlns:a16="http://schemas.microsoft.com/office/drawing/2014/main" id="{0BF961F2-C484-4AB4-8F86-CBBECD79E05B}"/>
              </a:ext>
            </a:extLst>
          </p:cNvPr>
          <p:cNvSpPr txBox="1"/>
          <p:nvPr/>
        </p:nvSpPr>
        <p:spPr>
          <a:xfrm>
            <a:off x="5383228" y="1523574"/>
            <a:ext cx="6311249" cy="4785926"/>
          </a:xfrm>
          <a:prstGeom prst="rect">
            <a:avLst/>
          </a:prstGeom>
        </p:spPr>
        <p:txBody>
          <a:bodyPr wrap="square" lIns="91440" tIns="45720" rIns="91440" bIns="45720" rtlCol="0" anchor="t">
            <a:spAutoFit/>
          </a:bodyPr>
          <a:lstStyle/>
          <a:p>
            <a:pPr marL="571500" marR="0" lvl="0" indent="-57150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000000"/>
                </a:solidFill>
                <a:effectLst/>
                <a:uLnTx/>
                <a:uFillTx/>
                <a:latin typeface="Helvetica Neue LT Std 45 Light"/>
                <a:ea typeface="Helvetica Neue Light" panose="02000403000000020004" pitchFamily="2" charset="0"/>
                <a:cs typeface="+mn-cs"/>
              </a:rPr>
              <a:t>If the proposed solution requires further input from industry in order to develop the solution, a Workgroup will be set up. ​</a:t>
            </a:r>
          </a:p>
          <a:p>
            <a:pPr marL="571500" marR="0" lvl="0" indent="-57150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000000"/>
              </a:solidFill>
              <a:effectLst/>
              <a:uLnTx/>
              <a:uFillTx/>
              <a:latin typeface="Helvetica Neue LT Std 45 Light"/>
              <a:ea typeface="Helvetica Neue Light" panose="02000403000000020004" pitchFamily="2" charset="0"/>
              <a:cs typeface="+mn-cs"/>
            </a:endParaRPr>
          </a:p>
          <a:p>
            <a:pPr marL="571500" marR="0" lvl="0" indent="-57150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000000"/>
                </a:solidFill>
                <a:effectLst/>
                <a:uLnTx/>
                <a:uFillTx/>
                <a:latin typeface="Helvetica Neue LT Std 45 Light"/>
                <a:ea typeface="Helvetica Neue Light" panose="02000403000000020004" pitchFamily="2" charset="0"/>
                <a:cs typeface="+mn-cs"/>
              </a:rPr>
              <a:t>The Workgroup will:</a:t>
            </a:r>
          </a:p>
          <a:p>
            <a:pPr marL="1028700" marR="0" lvl="1" indent="-57150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000000"/>
                </a:solidFill>
                <a:effectLst/>
                <a:uLnTx/>
                <a:uFillTx/>
                <a:latin typeface="Helvetica Neue LT Std 45 Light"/>
                <a:ea typeface="Helvetica Neue Light" panose="02000403000000020004" pitchFamily="2" charset="0"/>
                <a:cs typeface="+mn-cs"/>
              </a:rPr>
              <a:t>further refine the solution, in their discussions and by holding a </a:t>
            </a:r>
            <a:r>
              <a:rPr kumimoji="0" lang="en-GB" sz="1800" b="1" i="0" u="none" strike="noStrike" kern="1200" cap="none" spc="0" normalizeH="0" baseline="0" noProof="0" dirty="0">
                <a:ln>
                  <a:noFill/>
                </a:ln>
                <a:solidFill>
                  <a:srgbClr val="000000"/>
                </a:solidFill>
                <a:effectLst/>
                <a:uLnTx/>
                <a:uFillTx/>
                <a:latin typeface="Helvetica Neue LT Std 45 Light"/>
                <a:ea typeface="Helvetica Neue Light" panose="02000403000000020004" pitchFamily="2" charset="0"/>
                <a:cs typeface="+mn-cs"/>
              </a:rPr>
              <a:t>Workgroup Consultation</a:t>
            </a:r>
            <a:endParaRPr kumimoji="0" lang="en-GB" sz="1800" b="1" i="0" u="none" strike="noStrike" kern="1200" cap="none" spc="0" normalizeH="0" baseline="0" noProof="0" dirty="0">
              <a:ln>
                <a:noFill/>
              </a:ln>
              <a:solidFill>
                <a:srgbClr val="000000"/>
              </a:solidFill>
              <a:effectLst/>
              <a:uLnTx/>
              <a:uFillTx/>
              <a:latin typeface="Calibri" panose="020F0502020204030204"/>
              <a:ea typeface="Helvetica Neue Light" panose="02000403000000020004" pitchFamily="2" charset="0"/>
              <a:cs typeface="Calibri" panose="020F0502020204030204"/>
            </a:endParaRPr>
          </a:p>
          <a:p>
            <a:pPr marL="1028700" marR="0" lvl="1" indent="-57150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000000"/>
                </a:solidFill>
                <a:effectLst/>
                <a:uLnTx/>
                <a:uFillTx/>
                <a:latin typeface="Helvetica Neue LT Std 45 Light"/>
                <a:ea typeface="Helvetica Neue Light" panose="02000403000000020004" pitchFamily="2" charset="0"/>
                <a:cs typeface="+mn-cs"/>
              </a:rPr>
              <a:t>Consider other solutions, and may raise </a:t>
            </a:r>
            <a:r>
              <a:rPr kumimoji="0" lang="en-GB" sz="1800" b="1" i="0" u="none" strike="noStrike" kern="1200" cap="none" spc="0" normalizeH="0" baseline="0" noProof="0" dirty="0">
                <a:ln>
                  <a:noFill/>
                </a:ln>
                <a:solidFill>
                  <a:srgbClr val="000000"/>
                </a:solidFill>
                <a:effectLst/>
                <a:uLnTx/>
                <a:uFillTx/>
                <a:latin typeface="Helvetica Neue LT Std 45 Light"/>
                <a:ea typeface="Helvetica Neue Light" panose="02000403000000020004" pitchFamily="2" charset="0"/>
                <a:cs typeface="+mn-cs"/>
              </a:rPr>
              <a:t>Alternative Modifications</a:t>
            </a:r>
            <a:r>
              <a:rPr kumimoji="0" lang="en-GB" sz="1800" b="0" i="0" u="none" strike="noStrike" kern="1200" cap="none" spc="0" normalizeH="0" baseline="0" noProof="0" dirty="0">
                <a:ln>
                  <a:noFill/>
                </a:ln>
                <a:solidFill>
                  <a:srgbClr val="000000"/>
                </a:solidFill>
                <a:effectLst/>
                <a:uLnTx/>
                <a:uFillTx/>
                <a:latin typeface="Helvetica Neue LT Std 45 Light"/>
                <a:ea typeface="Helvetica Neue Light" panose="02000403000000020004" pitchFamily="2" charset="0"/>
                <a:cs typeface="+mn-cs"/>
              </a:rPr>
              <a:t> to be considered alongside the Original Modification</a:t>
            </a:r>
          </a:p>
          <a:p>
            <a:pPr marL="1028700" marR="0" lvl="1" indent="-57150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000000"/>
                </a:solidFill>
                <a:effectLst/>
                <a:uLnTx/>
                <a:uFillTx/>
                <a:latin typeface="Helvetica Neue LT Std 45 Light"/>
                <a:ea typeface="Helvetica Neue Light" panose="02000403000000020004" pitchFamily="2" charset="0"/>
                <a:cs typeface="+mn-cs"/>
              </a:rPr>
              <a:t>Have a </a:t>
            </a:r>
            <a:r>
              <a:rPr kumimoji="0" lang="en-GB" sz="1800" b="1" i="0" u="none" strike="noStrike" kern="1200" cap="none" spc="0" normalizeH="0" baseline="0" noProof="0" dirty="0">
                <a:ln>
                  <a:noFill/>
                </a:ln>
                <a:solidFill>
                  <a:srgbClr val="000000"/>
                </a:solidFill>
                <a:effectLst/>
                <a:uLnTx/>
                <a:uFillTx/>
                <a:latin typeface="Helvetica Neue LT Std 45 Light"/>
                <a:ea typeface="Helvetica Neue Light" panose="02000403000000020004" pitchFamily="2" charset="0"/>
                <a:cs typeface="+mn-cs"/>
              </a:rPr>
              <a:t>Workgroup Vote</a:t>
            </a:r>
            <a:r>
              <a:rPr kumimoji="0" lang="en-GB" sz="1800" b="0" i="0" u="none" strike="noStrike" kern="1200" cap="none" spc="0" normalizeH="0" baseline="0" noProof="0" dirty="0">
                <a:ln>
                  <a:noFill/>
                </a:ln>
                <a:solidFill>
                  <a:srgbClr val="000000"/>
                </a:solidFill>
                <a:effectLst/>
                <a:uLnTx/>
                <a:uFillTx/>
                <a:latin typeface="Helvetica Neue LT Std 45 Light"/>
                <a:ea typeface="Helvetica Neue Light" panose="02000403000000020004" pitchFamily="2" charset="0"/>
                <a:cs typeface="+mn-cs"/>
              </a:rPr>
              <a:t> so views of the Workgroup members can be expressed in the Workgroup Report which is presented to Panel</a:t>
            </a: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endParaRPr>
          </a:p>
          <a:p>
            <a:pPr marL="571500" marR="0" lvl="0" indent="-57150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000000"/>
              </a:solidFill>
              <a:effectLst/>
              <a:uLnTx/>
              <a:uFillTx/>
              <a:latin typeface="Helvetica Neue LT Std 45 Light"/>
              <a:ea typeface="Helvetica Neue Light" panose="02000403000000020004" pitchFamily="2" charset="0"/>
              <a:cs typeface="+mn-cs"/>
            </a:endParaRPr>
          </a:p>
          <a:p>
            <a:pPr marL="571500" marR="0" lvl="0" indent="-57150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000000"/>
              </a:solidFill>
              <a:effectLst/>
              <a:uLnTx/>
              <a:uFillTx/>
              <a:latin typeface="Helvetica Neue LT Std 45 Light"/>
              <a:ea typeface="Helvetica Neue Light" panose="02000403000000020004" pitchFamily="2" charset="0"/>
              <a:cs typeface="+mn-cs"/>
            </a:endParaRPr>
          </a:p>
        </p:txBody>
      </p:sp>
      <p:pic>
        <p:nvPicPr>
          <p:cNvPr id="3" name="Picture 2">
            <a:extLst>
              <a:ext uri="{FF2B5EF4-FFF2-40B4-BE49-F238E27FC236}">
                <a16:creationId xmlns:a16="http://schemas.microsoft.com/office/drawing/2014/main" id="{D47AF827-AEE0-4832-B9B5-871D70599F7B}"/>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16276" y="2052422"/>
            <a:ext cx="4647237" cy="3101468"/>
          </a:xfrm>
          <a:prstGeom prst="rect">
            <a:avLst/>
          </a:prstGeom>
        </p:spPr>
      </p:pic>
      <p:grpSp>
        <p:nvGrpSpPr>
          <p:cNvPr id="5" name="Group 4">
            <a:extLst>
              <a:ext uri="{FF2B5EF4-FFF2-40B4-BE49-F238E27FC236}">
                <a16:creationId xmlns:a16="http://schemas.microsoft.com/office/drawing/2014/main" id="{2E08D862-55AC-4D65-A71B-61AF5C0B1CEA}"/>
              </a:ext>
            </a:extLst>
          </p:cNvPr>
          <p:cNvGrpSpPr/>
          <p:nvPr/>
        </p:nvGrpSpPr>
        <p:grpSpPr>
          <a:xfrm>
            <a:off x="8536808" y="206637"/>
            <a:ext cx="3412053" cy="495069"/>
            <a:chOff x="1378039" y="5337019"/>
            <a:chExt cx="3412053" cy="495069"/>
          </a:xfrm>
        </p:grpSpPr>
        <p:pic>
          <p:nvPicPr>
            <p:cNvPr id="6" name="Graphic 2" descr="Chat">
              <a:extLst>
                <a:ext uri="{FF2B5EF4-FFF2-40B4-BE49-F238E27FC236}">
                  <a16:creationId xmlns:a16="http://schemas.microsoft.com/office/drawing/2014/main" id="{8935FFB1-C739-45BA-9543-AA46739FA39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78039" y="5337019"/>
              <a:ext cx="495069" cy="495069"/>
            </a:xfrm>
            <a:prstGeom prst="rect">
              <a:avLst/>
            </a:prstGeom>
          </p:spPr>
        </p:pic>
        <p:pic>
          <p:nvPicPr>
            <p:cNvPr id="7" name="Graphic 5" descr="Person with idea">
              <a:extLst>
                <a:ext uri="{FF2B5EF4-FFF2-40B4-BE49-F238E27FC236}">
                  <a16:creationId xmlns:a16="http://schemas.microsoft.com/office/drawing/2014/main" id="{DD30C7B0-DA59-4126-9274-85FF03D5DC8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961436" y="5337019"/>
              <a:ext cx="495069" cy="495069"/>
            </a:xfrm>
            <a:prstGeom prst="rect">
              <a:avLst/>
            </a:prstGeom>
          </p:spPr>
        </p:pic>
        <p:pic>
          <p:nvPicPr>
            <p:cNvPr id="8" name="Graphic 7" descr="Meeting">
              <a:extLst>
                <a:ext uri="{FF2B5EF4-FFF2-40B4-BE49-F238E27FC236}">
                  <a16:creationId xmlns:a16="http://schemas.microsoft.com/office/drawing/2014/main" id="{B1A47D3D-5C4A-4B96-9579-113C825C819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544833" y="5337019"/>
              <a:ext cx="495069" cy="495069"/>
            </a:xfrm>
            <a:prstGeom prst="rect">
              <a:avLst/>
            </a:prstGeom>
          </p:spPr>
        </p:pic>
        <p:pic>
          <p:nvPicPr>
            <p:cNvPr id="9" name="Graphic 3" descr="Group of people">
              <a:extLst>
                <a:ext uri="{FF2B5EF4-FFF2-40B4-BE49-F238E27FC236}">
                  <a16:creationId xmlns:a16="http://schemas.microsoft.com/office/drawing/2014/main" id="{0DC08771-C823-4CB5-AF51-BA911CA2F2D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128230" y="5337019"/>
              <a:ext cx="495069" cy="495069"/>
            </a:xfrm>
            <a:prstGeom prst="rect">
              <a:avLst/>
            </a:prstGeom>
          </p:spPr>
        </p:pic>
        <p:pic>
          <p:nvPicPr>
            <p:cNvPr id="10" name="Graphic 5" descr="Megaphone1">
              <a:extLst>
                <a:ext uri="{FF2B5EF4-FFF2-40B4-BE49-F238E27FC236}">
                  <a16:creationId xmlns:a16="http://schemas.microsoft.com/office/drawing/2014/main" id="{2D96F7D5-98F2-4A65-9ACA-2ACADD88D83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711627" y="5337019"/>
              <a:ext cx="495069" cy="495069"/>
            </a:xfrm>
            <a:prstGeom prst="rect">
              <a:avLst/>
            </a:prstGeom>
          </p:spPr>
        </p:pic>
        <p:pic>
          <p:nvPicPr>
            <p:cNvPr id="11" name="Graphic 9" descr="Document">
              <a:extLst>
                <a:ext uri="{FF2B5EF4-FFF2-40B4-BE49-F238E27FC236}">
                  <a16:creationId xmlns:a16="http://schemas.microsoft.com/office/drawing/2014/main" id="{C1EDDA3F-CA8A-4F8F-990B-E53473B8959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295023" y="5337019"/>
              <a:ext cx="495069" cy="495069"/>
            </a:xfrm>
            <a:prstGeom prst="rect">
              <a:avLst/>
            </a:prstGeom>
          </p:spPr>
        </p:pic>
      </p:grpSp>
    </p:spTree>
    <p:extLst>
      <p:ext uri="{BB962C8B-B14F-4D97-AF65-F5344CB8AC3E}">
        <p14:creationId xmlns:p14="http://schemas.microsoft.com/office/powerpoint/2010/main" val="7910351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F3CCC6-E65B-4843-B9B0-BCAB00B183A2}"/>
              </a:ext>
            </a:extLst>
          </p:cNvPr>
          <p:cNvSpPr>
            <a:spLocks noGrp="1"/>
          </p:cNvSpPr>
          <p:nvPr>
            <p:ph type="title"/>
          </p:nvPr>
        </p:nvSpPr>
        <p:spPr/>
        <p:txBody>
          <a:bodyPr/>
          <a:lstStyle/>
          <a:p>
            <a:r>
              <a:rPr lang="en-US" dirty="0"/>
              <a:t>Consult</a:t>
            </a:r>
            <a:br>
              <a:rPr lang="en-US" dirty="0"/>
            </a:br>
            <a:r>
              <a:rPr lang="en-US" sz="3200" dirty="0"/>
              <a:t>Code Administrator Consultation</a:t>
            </a:r>
            <a:endParaRPr lang="en-US" dirty="0"/>
          </a:p>
        </p:txBody>
      </p:sp>
      <p:sp>
        <p:nvSpPr>
          <p:cNvPr id="4" name="TextBox 3">
            <a:extLst>
              <a:ext uri="{FF2B5EF4-FFF2-40B4-BE49-F238E27FC236}">
                <a16:creationId xmlns:a16="http://schemas.microsoft.com/office/drawing/2014/main" id="{0BF961F2-C484-4AB4-8F86-CBBECD79E05B}"/>
              </a:ext>
            </a:extLst>
          </p:cNvPr>
          <p:cNvSpPr txBox="1"/>
          <p:nvPr/>
        </p:nvSpPr>
        <p:spPr>
          <a:xfrm>
            <a:off x="659568" y="2216137"/>
            <a:ext cx="5717482" cy="2185214"/>
          </a:xfrm>
          <a:prstGeom prst="rect">
            <a:avLst/>
          </a:prstGeom>
        </p:spPr>
        <p:txBody>
          <a:bodyPr wrap="square" rtlCol="0">
            <a:spAutoFit/>
          </a:bodyPr>
          <a:lstStyle/>
          <a:p>
            <a:pPr marL="571500" marR="0" lvl="0" indent="-57150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000000"/>
                </a:solidFill>
                <a:effectLst/>
                <a:uLnTx/>
                <a:uFillTx/>
                <a:latin typeface="Helvetica Neue LT Std 45 Light"/>
                <a:ea typeface="Helvetica Neue Light" panose="02000403000000020004" pitchFamily="2" charset="0"/>
                <a:cs typeface="+mn-cs"/>
              </a:rPr>
              <a:t>The Code Administrator runs a consultation on the </a:t>
            </a:r>
            <a:r>
              <a:rPr kumimoji="0" lang="en-GB" sz="1800" b="1" i="0" u="none" strike="noStrike" kern="1200" cap="none" spc="0" normalizeH="0" baseline="0" noProof="0" dirty="0">
                <a:ln>
                  <a:noFill/>
                </a:ln>
                <a:solidFill>
                  <a:srgbClr val="000000"/>
                </a:solidFill>
                <a:effectLst/>
                <a:uLnTx/>
                <a:uFillTx/>
                <a:latin typeface="Helvetica Neue LT Std 45 Light"/>
                <a:ea typeface="Helvetica Neue Light" panose="02000403000000020004" pitchFamily="2" charset="0"/>
                <a:cs typeface="+mn-cs"/>
              </a:rPr>
              <a:t>final solution(s)</a:t>
            </a:r>
            <a:r>
              <a:rPr kumimoji="0" lang="en-GB" sz="1800" b="0" i="0" u="none" strike="noStrike" kern="1200" cap="none" spc="0" normalizeH="0" baseline="0" noProof="0" dirty="0">
                <a:ln>
                  <a:noFill/>
                </a:ln>
                <a:solidFill>
                  <a:srgbClr val="000000"/>
                </a:solidFill>
                <a:effectLst/>
                <a:uLnTx/>
                <a:uFillTx/>
                <a:latin typeface="Helvetica Neue LT Std 45 Light"/>
                <a:ea typeface="Helvetica Neue Light" panose="02000403000000020004" pitchFamily="2" charset="0"/>
                <a:cs typeface="+mn-cs"/>
              </a:rPr>
              <a:t>, to gather final views from industry before a decision is made on the modification.</a:t>
            </a:r>
          </a:p>
          <a:p>
            <a:pPr marL="571500" marR="0" lvl="0" indent="-57150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000000"/>
              </a:solidFill>
              <a:effectLst/>
              <a:uLnTx/>
              <a:uFillTx/>
              <a:latin typeface="Helvetica Neue LT Std 45 Light"/>
              <a:ea typeface="Helvetica Neue Light" panose="02000403000000020004" pitchFamily="2" charset="0"/>
              <a:cs typeface="+mn-cs"/>
            </a:endParaRPr>
          </a:p>
          <a:p>
            <a:pPr marL="571500" marR="0" lvl="0" indent="-57150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000000"/>
                </a:solidFill>
                <a:effectLst/>
                <a:uLnTx/>
                <a:uFillTx/>
                <a:latin typeface="Helvetica Neue LT Std 45 Light"/>
                <a:ea typeface="Helvetica Neue Light" panose="02000403000000020004" pitchFamily="2" charset="0"/>
                <a:cs typeface="+mn-cs"/>
              </a:rPr>
              <a:t>After this, the modification report is voted on by Panel who also give their views on the solution.</a:t>
            </a:r>
          </a:p>
        </p:txBody>
      </p:sp>
      <p:pic>
        <p:nvPicPr>
          <p:cNvPr id="3" name="Picture 2">
            <a:extLst>
              <a:ext uri="{FF2B5EF4-FFF2-40B4-BE49-F238E27FC236}">
                <a16:creationId xmlns:a16="http://schemas.microsoft.com/office/drawing/2014/main" id="{94357866-3F07-4C6D-8097-4699D6E2FB7E}"/>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rot="5400000">
            <a:off x="7514807" y="1559330"/>
            <a:ext cx="3628854" cy="4536068"/>
          </a:xfrm>
          <a:prstGeom prst="rect">
            <a:avLst/>
          </a:prstGeom>
        </p:spPr>
      </p:pic>
      <p:grpSp>
        <p:nvGrpSpPr>
          <p:cNvPr id="5" name="Group 4">
            <a:extLst>
              <a:ext uri="{FF2B5EF4-FFF2-40B4-BE49-F238E27FC236}">
                <a16:creationId xmlns:a16="http://schemas.microsoft.com/office/drawing/2014/main" id="{EDDA4673-6A75-42E5-AC79-F64E59EB5917}"/>
              </a:ext>
            </a:extLst>
          </p:cNvPr>
          <p:cNvGrpSpPr/>
          <p:nvPr/>
        </p:nvGrpSpPr>
        <p:grpSpPr>
          <a:xfrm>
            <a:off x="8536808" y="206637"/>
            <a:ext cx="3412053" cy="495069"/>
            <a:chOff x="1378039" y="5337019"/>
            <a:chExt cx="3412053" cy="495069"/>
          </a:xfrm>
        </p:grpSpPr>
        <p:pic>
          <p:nvPicPr>
            <p:cNvPr id="6" name="Graphic 2" descr="Chat">
              <a:extLst>
                <a:ext uri="{FF2B5EF4-FFF2-40B4-BE49-F238E27FC236}">
                  <a16:creationId xmlns:a16="http://schemas.microsoft.com/office/drawing/2014/main" id="{AD8A1189-4957-4C72-8224-5FDF2B038DF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78039" y="5337019"/>
              <a:ext cx="495069" cy="495069"/>
            </a:xfrm>
            <a:prstGeom prst="rect">
              <a:avLst/>
            </a:prstGeom>
          </p:spPr>
        </p:pic>
        <p:pic>
          <p:nvPicPr>
            <p:cNvPr id="7" name="Graphic 5" descr="Person with idea">
              <a:extLst>
                <a:ext uri="{FF2B5EF4-FFF2-40B4-BE49-F238E27FC236}">
                  <a16:creationId xmlns:a16="http://schemas.microsoft.com/office/drawing/2014/main" id="{6207F3D0-755D-406B-B91D-711BF727FF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961436" y="5337019"/>
              <a:ext cx="495069" cy="495069"/>
            </a:xfrm>
            <a:prstGeom prst="rect">
              <a:avLst/>
            </a:prstGeom>
          </p:spPr>
        </p:pic>
        <p:pic>
          <p:nvPicPr>
            <p:cNvPr id="8" name="Graphic 7" descr="Meeting">
              <a:extLst>
                <a:ext uri="{FF2B5EF4-FFF2-40B4-BE49-F238E27FC236}">
                  <a16:creationId xmlns:a16="http://schemas.microsoft.com/office/drawing/2014/main" id="{C3C9F8AC-695A-4AC2-88A0-1ACAE153D50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544833" y="5337019"/>
              <a:ext cx="495069" cy="495069"/>
            </a:xfrm>
            <a:prstGeom prst="rect">
              <a:avLst/>
            </a:prstGeom>
          </p:spPr>
        </p:pic>
        <p:pic>
          <p:nvPicPr>
            <p:cNvPr id="9" name="Graphic 3" descr="Group of people">
              <a:extLst>
                <a:ext uri="{FF2B5EF4-FFF2-40B4-BE49-F238E27FC236}">
                  <a16:creationId xmlns:a16="http://schemas.microsoft.com/office/drawing/2014/main" id="{30063847-5D23-4E0D-A534-44CFF8BAD09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128230" y="5337019"/>
              <a:ext cx="495069" cy="495069"/>
            </a:xfrm>
            <a:prstGeom prst="rect">
              <a:avLst/>
            </a:prstGeom>
          </p:spPr>
        </p:pic>
        <p:pic>
          <p:nvPicPr>
            <p:cNvPr id="10" name="Graphic 5" descr="Megaphone1">
              <a:extLst>
                <a:ext uri="{FF2B5EF4-FFF2-40B4-BE49-F238E27FC236}">
                  <a16:creationId xmlns:a16="http://schemas.microsoft.com/office/drawing/2014/main" id="{4BF9EB88-FEA1-479E-84ED-B188F8C42C0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711627" y="5337019"/>
              <a:ext cx="495069" cy="495069"/>
            </a:xfrm>
            <a:prstGeom prst="rect">
              <a:avLst/>
            </a:prstGeom>
          </p:spPr>
        </p:pic>
        <p:pic>
          <p:nvPicPr>
            <p:cNvPr id="11" name="Graphic 9" descr="Document">
              <a:extLst>
                <a:ext uri="{FF2B5EF4-FFF2-40B4-BE49-F238E27FC236}">
                  <a16:creationId xmlns:a16="http://schemas.microsoft.com/office/drawing/2014/main" id="{93720D20-AFEA-4930-8936-8423505613E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295023" y="5337019"/>
              <a:ext cx="495069" cy="495069"/>
            </a:xfrm>
            <a:prstGeom prst="rect">
              <a:avLst/>
            </a:prstGeom>
          </p:spPr>
        </p:pic>
      </p:grpSp>
    </p:spTree>
    <p:extLst>
      <p:ext uri="{BB962C8B-B14F-4D97-AF65-F5344CB8AC3E}">
        <p14:creationId xmlns:p14="http://schemas.microsoft.com/office/powerpoint/2010/main" val="1576288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F3CCC6-E65B-4843-B9B0-BCAB00B183A2}"/>
              </a:ext>
            </a:extLst>
          </p:cNvPr>
          <p:cNvSpPr>
            <a:spLocks noGrp="1"/>
          </p:cNvSpPr>
          <p:nvPr>
            <p:ph type="title"/>
          </p:nvPr>
        </p:nvSpPr>
        <p:spPr/>
        <p:txBody>
          <a:bodyPr/>
          <a:lstStyle/>
          <a:p>
            <a:r>
              <a:rPr lang="en-US" dirty="0"/>
              <a:t>Decision</a:t>
            </a:r>
          </a:p>
        </p:txBody>
      </p:sp>
      <p:sp>
        <p:nvSpPr>
          <p:cNvPr id="4" name="TextBox 3">
            <a:extLst>
              <a:ext uri="{FF2B5EF4-FFF2-40B4-BE49-F238E27FC236}">
                <a16:creationId xmlns:a16="http://schemas.microsoft.com/office/drawing/2014/main" id="{0BF961F2-C484-4AB4-8F86-CBBECD79E05B}"/>
              </a:ext>
            </a:extLst>
          </p:cNvPr>
          <p:cNvSpPr txBox="1"/>
          <p:nvPr/>
        </p:nvSpPr>
        <p:spPr>
          <a:xfrm>
            <a:off x="5843247" y="1872570"/>
            <a:ext cx="5959548" cy="4508927"/>
          </a:xfrm>
          <a:prstGeom prst="rect">
            <a:avLst/>
          </a:prstGeom>
        </p:spPr>
        <p:txBody>
          <a:bodyPr wrap="square" rtlCol="0">
            <a:spAutoFit/>
          </a:bodyPr>
          <a:lstStyle/>
          <a:p>
            <a:pPr marL="571500" marR="0" lvl="0" indent="-57150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000000"/>
                </a:solidFill>
                <a:effectLst/>
                <a:uLnTx/>
                <a:uFillTx/>
                <a:latin typeface="Helvetica Neue LT Std 45 Light"/>
                <a:ea typeface="Helvetica Neue Light" panose="02000403000000020004" pitchFamily="2" charset="0"/>
                <a:cs typeface="+mn-cs"/>
              </a:rPr>
              <a:t>Dependent on the Governance Route that was decided by Panel when the modification was raised</a:t>
            </a:r>
          </a:p>
          <a:p>
            <a:pPr marL="571500" marR="0" lvl="0" indent="-57150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000000"/>
              </a:solidFill>
              <a:effectLst/>
              <a:uLnTx/>
              <a:uFillTx/>
              <a:latin typeface="Helvetica Neue LT Std 45 Light"/>
              <a:ea typeface="Helvetica Neue Light" panose="02000403000000020004" pitchFamily="2" charset="0"/>
              <a:cs typeface="+mn-cs"/>
            </a:endParaRPr>
          </a:p>
          <a:p>
            <a:pPr marL="571500" marR="0" lvl="0" indent="-57150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1" i="0" u="none" strike="noStrike" kern="1200" cap="none" spc="0" normalizeH="0" baseline="0" noProof="0" dirty="0">
                <a:ln>
                  <a:noFill/>
                </a:ln>
                <a:solidFill>
                  <a:srgbClr val="000000"/>
                </a:solidFill>
                <a:effectLst/>
                <a:uLnTx/>
                <a:uFillTx/>
                <a:latin typeface="Helvetica Neue LT Std 45 Light"/>
                <a:ea typeface="Helvetica Neue Light" panose="02000403000000020004" pitchFamily="2" charset="0"/>
                <a:cs typeface="+mn-cs"/>
              </a:rPr>
              <a:t>Standard Governance: </a:t>
            </a:r>
            <a:r>
              <a:rPr kumimoji="0" lang="en-GB" sz="1800" b="0" i="0" u="none" strike="noStrike" kern="1200" cap="none" spc="0" normalizeH="0" baseline="0" noProof="0" dirty="0">
                <a:ln>
                  <a:noFill/>
                </a:ln>
                <a:solidFill>
                  <a:srgbClr val="000000"/>
                </a:solidFill>
                <a:effectLst/>
                <a:uLnTx/>
                <a:uFillTx/>
                <a:latin typeface="Helvetica Neue LT Std 45 Light"/>
                <a:ea typeface="Helvetica Neue Light" panose="02000403000000020004" pitchFamily="2" charset="0"/>
                <a:cs typeface="+mn-cs"/>
              </a:rPr>
              <a:t>Ofgem makes the decision on whether or not the modification is implemented </a:t>
            </a:r>
          </a:p>
          <a:p>
            <a:pPr marL="571500" marR="0" lvl="0" indent="-57150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000000"/>
              </a:solidFill>
              <a:effectLst/>
              <a:uLnTx/>
              <a:uFillTx/>
              <a:latin typeface="Helvetica Neue LT Std 45 Light"/>
              <a:ea typeface="Helvetica Neue Light" panose="02000403000000020004" pitchFamily="2" charset="0"/>
              <a:cs typeface="+mn-cs"/>
            </a:endParaRPr>
          </a:p>
          <a:p>
            <a:pPr marL="571500" marR="0" lvl="0" indent="-57150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1" i="0" u="none" strike="noStrike" kern="1200" cap="none" spc="0" normalizeH="0" baseline="0" noProof="0" dirty="0">
                <a:ln>
                  <a:noFill/>
                </a:ln>
                <a:solidFill>
                  <a:srgbClr val="000000"/>
                </a:solidFill>
                <a:effectLst/>
                <a:uLnTx/>
                <a:uFillTx/>
                <a:latin typeface="Helvetica Neue LT Std 45 Light"/>
                <a:ea typeface="Helvetica Neue Light" panose="02000403000000020004" pitchFamily="2" charset="0"/>
                <a:cs typeface="+mn-cs"/>
              </a:rPr>
              <a:t>Self-Governance: </a:t>
            </a:r>
            <a:r>
              <a:rPr kumimoji="0" lang="en-GB" sz="1800" b="0" i="0" u="none" strike="noStrike" kern="1200" cap="none" spc="0" normalizeH="0" baseline="0" noProof="0" dirty="0">
                <a:ln>
                  <a:noFill/>
                </a:ln>
                <a:solidFill>
                  <a:srgbClr val="000000"/>
                </a:solidFill>
                <a:effectLst/>
                <a:uLnTx/>
                <a:uFillTx/>
                <a:latin typeface="Helvetica Neue LT Std 45 Light"/>
                <a:ea typeface="Helvetica Neue Light" panose="02000403000000020004" pitchFamily="2" charset="0"/>
                <a:cs typeface="+mn-cs"/>
              </a:rPr>
              <a:t>Panel makes the decision on whether or not the modification is implemented</a:t>
            </a:r>
          </a:p>
          <a:p>
            <a:pPr marL="1028700" marR="0" lvl="1" indent="-57150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000000"/>
                </a:solidFill>
                <a:effectLst/>
                <a:uLnTx/>
                <a:uFillTx/>
                <a:latin typeface="Helvetica Neue LT Std 45 Light"/>
                <a:ea typeface="Helvetica Neue Light" panose="02000403000000020004" pitchFamily="2" charset="0"/>
                <a:cs typeface="+mn-cs"/>
              </a:rPr>
              <a:t>an appeals window is opened for 15 days following the Final Self Governance Modification Report being published</a:t>
            </a:r>
          </a:p>
          <a:p>
            <a:pPr marL="571500" marR="0" lvl="0" indent="-57150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000000"/>
              </a:solidFill>
              <a:effectLst/>
              <a:uLnTx/>
              <a:uFillTx/>
              <a:latin typeface="Helvetica Neue LT Std 45 Light"/>
              <a:ea typeface="Helvetica Neue Light" panose="02000403000000020004" pitchFamily="2" charset="0"/>
              <a:cs typeface="+mn-cs"/>
            </a:endParaRPr>
          </a:p>
          <a:p>
            <a:pPr marL="571500" marR="0" lvl="0" indent="-57150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000000"/>
              </a:solidFill>
              <a:effectLst/>
              <a:uLnTx/>
              <a:uFillTx/>
              <a:latin typeface="Helvetica Neue LT Std 45 Light"/>
              <a:ea typeface="Helvetica Neue Light" panose="02000403000000020004" pitchFamily="2" charset="0"/>
              <a:cs typeface="+mn-cs"/>
            </a:endParaRPr>
          </a:p>
        </p:txBody>
      </p:sp>
      <p:pic>
        <p:nvPicPr>
          <p:cNvPr id="1026" name="Picture 2" descr="https://nationalgridplc.sharepoint.com/sites/GRP-EXT-UK-ESOMedia/Shared%20Documents/ESO%20imagery/ESO%20stock%20imagery/Group%20of%20people%20working%20together%20at%20office%20Getty-1132115725.jpg">
            <a:extLst>
              <a:ext uri="{FF2B5EF4-FFF2-40B4-BE49-F238E27FC236}">
                <a16:creationId xmlns:a16="http://schemas.microsoft.com/office/drawing/2014/main" id="{6E09D4E4-F9D3-4064-AFF3-B291EB498C87}"/>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52353" y="2037145"/>
            <a:ext cx="4814775" cy="3209850"/>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3AE855A7-01B8-4EE9-B603-B93C1A833E0C}"/>
              </a:ext>
            </a:extLst>
          </p:cNvPr>
          <p:cNvGrpSpPr/>
          <p:nvPr/>
        </p:nvGrpSpPr>
        <p:grpSpPr>
          <a:xfrm>
            <a:off x="8536808" y="206637"/>
            <a:ext cx="3412053" cy="495069"/>
            <a:chOff x="1378039" y="5337019"/>
            <a:chExt cx="3412053" cy="495069"/>
          </a:xfrm>
        </p:grpSpPr>
        <p:pic>
          <p:nvPicPr>
            <p:cNvPr id="6" name="Graphic 2" descr="Chat">
              <a:extLst>
                <a:ext uri="{FF2B5EF4-FFF2-40B4-BE49-F238E27FC236}">
                  <a16:creationId xmlns:a16="http://schemas.microsoft.com/office/drawing/2014/main" id="{E5704716-90E7-4215-A8CB-8F85B2849A7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78039" y="5337019"/>
              <a:ext cx="495069" cy="495069"/>
            </a:xfrm>
            <a:prstGeom prst="rect">
              <a:avLst/>
            </a:prstGeom>
          </p:spPr>
        </p:pic>
        <p:pic>
          <p:nvPicPr>
            <p:cNvPr id="7" name="Graphic 5" descr="Person with idea">
              <a:extLst>
                <a:ext uri="{FF2B5EF4-FFF2-40B4-BE49-F238E27FC236}">
                  <a16:creationId xmlns:a16="http://schemas.microsoft.com/office/drawing/2014/main" id="{87AEB33A-EF18-4255-AD24-9666230E778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961436" y="5337019"/>
              <a:ext cx="495069" cy="495069"/>
            </a:xfrm>
            <a:prstGeom prst="rect">
              <a:avLst/>
            </a:prstGeom>
          </p:spPr>
        </p:pic>
        <p:pic>
          <p:nvPicPr>
            <p:cNvPr id="8" name="Graphic 7" descr="Meeting">
              <a:extLst>
                <a:ext uri="{FF2B5EF4-FFF2-40B4-BE49-F238E27FC236}">
                  <a16:creationId xmlns:a16="http://schemas.microsoft.com/office/drawing/2014/main" id="{8D30B1C9-0E60-4271-BA24-FF7A27340B6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544833" y="5337019"/>
              <a:ext cx="495069" cy="495069"/>
            </a:xfrm>
            <a:prstGeom prst="rect">
              <a:avLst/>
            </a:prstGeom>
          </p:spPr>
        </p:pic>
        <p:pic>
          <p:nvPicPr>
            <p:cNvPr id="9" name="Graphic 3" descr="Group of people">
              <a:extLst>
                <a:ext uri="{FF2B5EF4-FFF2-40B4-BE49-F238E27FC236}">
                  <a16:creationId xmlns:a16="http://schemas.microsoft.com/office/drawing/2014/main" id="{C9707904-02ED-422B-9C09-A2A28B84069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128230" y="5337019"/>
              <a:ext cx="495069" cy="495069"/>
            </a:xfrm>
            <a:prstGeom prst="rect">
              <a:avLst/>
            </a:prstGeom>
          </p:spPr>
        </p:pic>
        <p:pic>
          <p:nvPicPr>
            <p:cNvPr id="10" name="Graphic 5" descr="Megaphone1">
              <a:extLst>
                <a:ext uri="{FF2B5EF4-FFF2-40B4-BE49-F238E27FC236}">
                  <a16:creationId xmlns:a16="http://schemas.microsoft.com/office/drawing/2014/main" id="{B128776A-B115-4BE1-8EE5-C99716D3301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711627" y="5337019"/>
              <a:ext cx="495069" cy="495069"/>
            </a:xfrm>
            <a:prstGeom prst="rect">
              <a:avLst/>
            </a:prstGeom>
          </p:spPr>
        </p:pic>
        <p:pic>
          <p:nvPicPr>
            <p:cNvPr id="11" name="Graphic 9" descr="Document">
              <a:extLst>
                <a:ext uri="{FF2B5EF4-FFF2-40B4-BE49-F238E27FC236}">
                  <a16:creationId xmlns:a16="http://schemas.microsoft.com/office/drawing/2014/main" id="{E6F58669-0751-45EA-AB9A-FBFF501F9D9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295023" y="5337019"/>
              <a:ext cx="495069" cy="495069"/>
            </a:xfrm>
            <a:prstGeom prst="rect">
              <a:avLst/>
            </a:prstGeom>
          </p:spPr>
        </p:pic>
      </p:grpSp>
    </p:spTree>
    <p:extLst>
      <p:ext uri="{BB962C8B-B14F-4D97-AF65-F5344CB8AC3E}">
        <p14:creationId xmlns:p14="http://schemas.microsoft.com/office/powerpoint/2010/main" val="1225038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F3CCC6-E65B-4843-B9B0-BCAB00B183A2}"/>
              </a:ext>
            </a:extLst>
          </p:cNvPr>
          <p:cNvSpPr>
            <a:spLocks noGrp="1"/>
          </p:cNvSpPr>
          <p:nvPr>
            <p:ph type="title"/>
          </p:nvPr>
        </p:nvSpPr>
        <p:spPr/>
        <p:txBody>
          <a:bodyPr/>
          <a:lstStyle/>
          <a:p>
            <a:r>
              <a:rPr lang="en-US" dirty="0"/>
              <a:t>Implement</a:t>
            </a:r>
          </a:p>
        </p:txBody>
      </p:sp>
      <p:sp>
        <p:nvSpPr>
          <p:cNvPr id="4" name="TextBox 3">
            <a:extLst>
              <a:ext uri="{FF2B5EF4-FFF2-40B4-BE49-F238E27FC236}">
                <a16:creationId xmlns:a16="http://schemas.microsoft.com/office/drawing/2014/main" id="{0BF961F2-C484-4AB4-8F86-CBBECD79E05B}"/>
              </a:ext>
            </a:extLst>
          </p:cNvPr>
          <p:cNvSpPr txBox="1"/>
          <p:nvPr/>
        </p:nvSpPr>
        <p:spPr>
          <a:xfrm>
            <a:off x="424915" y="2022400"/>
            <a:ext cx="5622480" cy="923330"/>
          </a:xfrm>
          <a:prstGeom prst="rect">
            <a:avLst/>
          </a:prstGeom>
        </p:spPr>
        <p:txBody>
          <a:bodyPr wrap="square" rtlCol="0">
            <a:spAutoFit/>
          </a:bodyPr>
          <a:lstStyle/>
          <a:p>
            <a:pPr marL="571500" marR="0" lvl="0" indent="-57150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000000"/>
                </a:solidFill>
                <a:effectLst/>
                <a:uLnTx/>
                <a:uFillTx/>
                <a:latin typeface="Helvetica Neue LT Std 45 Light"/>
                <a:ea typeface="Helvetica Neue Light" panose="02000403000000020004" pitchFamily="2" charset="0"/>
                <a:cs typeface="+mn-cs"/>
              </a:rPr>
              <a:t>The Code Administrator implements the final change which was decided by the Panel / Ofgem on the agreed date.</a:t>
            </a:r>
          </a:p>
        </p:txBody>
      </p:sp>
      <p:pic>
        <p:nvPicPr>
          <p:cNvPr id="5" name="Picture 4">
            <a:extLst>
              <a:ext uri="{FF2B5EF4-FFF2-40B4-BE49-F238E27FC236}">
                <a16:creationId xmlns:a16="http://schemas.microsoft.com/office/drawing/2014/main" id="{A46C4707-0D0D-4E83-8953-D863D71E9CB3}"/>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288586" y="1609014"/>
            <a:ext cx="5064042" cy="3375698"/>
          </a:xfrm>
          <a:prstGeom prst="rect">
            <a:avLst/>
          </a:prstGeom>
        </p:spPr>
      </p:pic>
      <p:grpSp>
        <p:nvGrpSpPr>
          <p:cNvPr id="6" name="Group 5">
            <a:extLst>
              <a:ext uri="{FF2B5EF4-FFF2-40B4-BE49-F238E27FC236}">
                <a16:creationId xmlns:a16="http://schemas.microsoft.com/office/drawing/2014/main" id="{90321A30-1005-48AD-98DF-72B471D95B55}"/>
              </a:ext>
            </a:extLst>
          </p:cNvPr>
          <p:cNvGrpSpPr/>
          <p:nvPr/>
        </p:nvGrpSpPr>
        <p:grpSpPr>
          <a:xfrm>
            <a:off x="8536808" y="206637"/>
            <a:ext cx="3412053" cy="495069"/>
            <a:chOff x="1378039" y="5337019"/>
            <a:chExt cx="3412053" cy="495069"/>
          </a:xfrm>
        </p:grpSpPr>
        <p:pic>
          <p:nvPicPr>
            <p:cNvPr id="7" name="Graphic 2" descr="Chat">
              <a:extLst>
                <a:ext uri="{FF2B5EF4-FFF2-40B4-BE49-F238E27FC236}">
                  <a16:creationId xmlns:a16="http://schemas.microsoft.com/office/drawing/2014/main" id="{CB58EFEB-6DD2-446D-AC12-F8F5988B2D9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78039" y="5337019"/>
              <a:ext cx="495069" cy="495069"/>
            </a:xfrm>
            <a:prstGeom prst="rect">
              <a:avLst/>
            </a:prstGeom>
          </p:spPr>
        </p:pic>
        <p:pic>
          <p:nvPicPr>
            <p:cNvPr id="8" name="Graphic 5" descr="Person with idea">
              <a:extLst>
                <a:ext uri="{FF2B5EF4-FFF2-40B4-BE49-F238E27FC236}">
                  <a16:creationId xmlns:a16="http://schemas.microsoft.com/office/drawing/2014/main" id="{38125C78-5FA8-4A1C-BC01-FC2A56F4DD2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961436" y="5337019"/>
              <a:ext cx="495069" cy="495069"/>
            </a:xfrm>
            <a:prstGeom prst="rect">
              <a:avLst/>
            </a:prstGeom>
          </p:spPr>
        </p:pic>
        <p:pic>
          <p:nvPicPr>
            <p:cNvPr id="9" name="Graphic 8" descr="Meeting">
              <a:extLst>
                <a:ext uri="{FF2B5EF4-FFF2-40B4-BE49-F238E27FC236}">
                  <a16:creationId xmlns:a16="http://schemas.microsoft.com/office/drawing/2014/main" id="{31CE5A01-940C-4238-B731-CF7D524BDEA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544833" y="5337019"/>
              <a:ext cx="495069" cy="495069"/>
            </a:xfrm>
            <a:prstGeom prst="rect">
              <a:avLst/>
            </a:prstGeom>
          </p:spPr>
        </p:pic>
        <p:pic>
          <p:nvPicPr>
            <p:cNvPr id="10" name="Graphic 3" descr="Group of people">
              <a:extLst>
                <a:ext uri="{FF2B5EF4-FFF2-40B4-BE49-F238E27FC236}">
                  <a16:creationId xmlns:a16="http://schemas.microsoft.com/office/drawing/2014/main" id="{C50D934E-EE0A-4EEE-AA04-0E9805411D6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128230" y="5337019"/>
              <a:ext cx="495069" cy="495069"/>
            </a:xfrm>
            <a:prstGeom prst="rect">
              <a:avLst/>
            </a:prstGeom>
          </p:spPr>
        </p:pic>
        <p:pic>
          <p:nvPicPr>
            <p:cNvPr id="11" name="Graphic 5" descr="Megaphone1">
              <a:extLst>
                <a:ext uri="{FF2B5EF4-FFF2-40B4-BE49-F238E27FC236}">
                  <a16:creationId xmlns:a16="http://schemas.microsoft.com/office/drawing/2014/main" id="{349EEA58-64B6-4E70-91D2-58120407AFB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711627" y="5337019"/>
              <a:ext cx="495069" cy="495069"/>
            </a:xfrm>
            <a:prstGeom prst="rect">
              <a:avLst/>
            </a:prstGeom>
          </p:spPr>
        </p:pic>
        <p:pic>
          <p:nvPicPr>
            <p:cNvPr id="12" name="Graphic 9" descr="Document">
              <a:extLst>
                <a:ext uri="{FF2B5EF4-FFF2-40B4-BE49-F238E27FC236}">
                  <a16:creationId xmlns:a16="http://schemas.microsoft.com/office/drawing/2014/main" id="{FA278138-E04B-4035-90A6-5A7EF997DB4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295023" y="5337019"/>
              <a:ext cx="495069" cy="495069"/>
            </a:xfrm>
            <a:prstGeom prst="rect">
              <a:avLst/>
            </a:prstGeom>
          </p:spPr>
        </p:pic>
      </p:grpSp>
    </p:spTree>
    <p:extLst>
      <p:ext uri="{BB962C8B-B14F-4D97-AF65-F5344CB8AC3E}">
        <p14:creationId xmlns:p14="http://schemas.microsoft.com/office/powerpoint/2010/main" val="37373055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988FD65-247D-4210-B048-12258ADD0D92}"/>
              </a:ext>
            </a:extLst>
          </p:cNvPr>
          <p:cNvSpPr>
            <a:spLocks noGrp="1"/>
          </p:cNvSpPr>
          <p:nvPr>
            <p:ph type="body" sz="quarter" idx="11"/>
          </p:nvPr>
        </p:nvSpPr>
        <p:spPr>
          <a:xfrm>
            <a:off x="1781443" y="1871462"/>
            <a:ext cx="9021236" cy="773569"/>
          </a:xfrm>
        </p:spPr>
        <p:txBody>
          <a:bodyPr/>
          <a:lstStyle/>
          <a:p>
            <a:r>
              <a:rPr lang="en-GB" b="1" dirty="0"/>
              <a:t>Objectives and Timeline</a:t>
            </a:r>
          </a:p>
        </p:txBody>
      </p:sp>
      <p:sp>
        <p:nvSpPr>
          <p:cNvPr id="2" name="Rectangle 1">
            <a:extLst>
              <a:ext uri="{FF2B5EF4-FFF2-40B4-BE49-F238E27FC236}">
                <a16:creationId xmlns:a16="http://schemas.microsoft.com/office/drawing/2014/main" id="{B3092A0B-1CB9-47C9-8A53-DE5D46254E81}"/>
              </a:ext>
            </a:extLst>
          </p:cNvPr>
          <p:cNvSpPr/>
          <p:nvPr/>
        </p:nvSpPr>
        <p:spPr>
          <a:xfrm>
            <a:off x="1652488" y="2933189"/>
            <a:ext cx="6130072" cy="461665"/>
          </a:xfrm>
          <a:prstGeom prst="rect">
            <a:avLst/>
          </a:prstGeom>
          <a:solidFill>
            <a:schemeClr val="bg1"/>
          </a:solid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dirty="0">
              <a:ln>
                <a:noFill/>
              </a:ln>
              <a:solidFill>
                <a:srgbClr val="000000"/>
              </a:solidFill>
              <a:effectLst/>
              <a:uLnTx/>
              <a:uFillTx/>
              <a:latin typeface="Helvetica Neue LT Std 45 Light" panose="020B0403020202020204" pitchFamily="34" charset="0"/>
              <a:ea typeface="+mn-ea"/>
              <a:cs typeface="+mn-cs"/>
            </a:endParaRPr>
          </a:p>
        </p:txBody>
      </p:sp>
      <p:sp>
        <p:nvSpPr>
          <p:cNvPr id="6" name="Text Placeholder 1">
            <a:extLst>
              <a:ext uri="{FF2B5EF4-FFF2-40B4-BE49-F238E27FC236}">
                <a16:creationId xmlns:a16="http://schemas.microsoft.com/office/drawing/2014/main" id="{DF799BDC-F9B1-4F26-8BFB-81EDDBD1FA0C}"/>
              </a:ext>
            </a:extLst>
          </p:cNvPr>
          <p:cNvSpPr txBox="1">
            <a:spLocks/>
          </p:cNvSpPr>
          <p:nvPr/>
        </p:nvSpPr>
        <p:spPr>
          <a:xfrm>
            <a:off x="1781443" y="2645031"/>
            <a:ext cx="7079317" cy="1677988"/>
          </a:xfrm>
          <a:prstGeom prst="rect">
            <a:avLst/>
          </a:prstGeom>
        </p:spPr>
        <p:txBody>
          <a:bodyPr/>
          <a:lstStyle>
            <a:lvl1pPr marL="0" indent="0" algn="l" defTabSz="914377" rtl="0" eaLnBrk="1" latinLnBrk="0" hangingPunct="1">
              <a:lnSpc>
                <a:spcPct val="90000"/>
              </a:lnSpc>
              <a:spcBef>
                <a:spcPts val="1000"/>
              </a:spcBef>
              <a:buFont typeface="Arial" panose="020B0604020202020204" pitchFamily="34" charset="0"/>
              <a:buNone/>
              <a:defRPr sz="1600" b="0" i="0" kern="1200">
                <a:solidFill>
                  <a:srgbClr val="FFBF22"/>
                </a:solidFill>
                <a:latin typeface="Helvetica Neue LT Std 45 Light" panose="020B0403020202020204" pitchFamily="34"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800" b="0" i="0" kern="1200">
                <a:solidFill>
                  <a:srgbClr val="E8BC28"/>
                </a:solidFill>
                <a:latin typeface="Helvetica Neue LT Std 45 Light" panose="020B0403020202020204" pitchFamily="34" charset="0"/>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600" b="0" i="0" kern="1200">
                <a:solidFill>
                  <a:srgbClr val="E8BC28"/>
                </a:solidFill>
                <a:latin typeface="Helvetica Neue LT Std 45 Light" panose="020B0403020202020204" pitchFamily="34" charset="0"/>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b="0" i="0" kern="1200">
                <a:solidFill>
                  <a:srgbClr val="E8BC28"/>
                </a:solidFill>
                <a:latin typeface="Helvetica Neue LT Std 45 Light" panose="020B0403020202020204" pitchFamily="34" charset="0"/>
                <a:ea typeface="+mn-ea"/>
                <a:cs typeface="+mn-cs"/>
              </a:defRPr>
            </a:lvl4pPr>
            <a:lvl5pPr marL="1828755" indent="0" algn="l" defTabSz="914377" rtl="0" eaLnBrk="1" latinLnBrk="0" hangingPunct="1">
              <a:lnSpc>
                <a:spcPct val="90000"/>
              </a:lnSpc>
              <a:spcBef>
                <a:spcPts val="500"/>
              </a:spcBef>
              <a:buFont typeface="Arial" panose="020B0604020202020204" pitchFamily="34" charset="0"/>
              <a:buNone/>
              <a:defRPr sz="1400" b="0" i="0" kern="1200">
                <a:solidFill>
                  <a:srgbClr val="E8BC28"/>
                </a:solidFill>
                <a:latin typeface="Helvetica Neue LT Std 45 Light" panose="020B04030202020202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dirty="0">
                <a:solidFill>
                  <a:srgbClr val="0079C1"/>
                </a:solidFill>
                <a:latin typeface="Arial" panose="020B0604020202020204" pitchFamily="34" charset="0"/>
                <a:cs typeface="Arial" panose="020B0604020202020204" pitchFamily="34" charset="0"/>
              </a:rPr>
              <a:t>Paul Mullen – National Grid ESO Code Administrator</a:t>
            </a:r>
          </a:p>
          <a:p>
            <a:endParaRPr lang="en-GB" sz="1800" b="1" dirty="0">
              <a:solidFill>
                <a:srgbClr val="0079C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499403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Ed7XcCgTKWp151G8zpHQ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OEd7XcCgTKWp151G8zpHQ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2MUorbDdSAu9Ug.6zw4zL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lnQNXCMlRA6fye2uUelQJ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6kfJHKLHS0ith1u8hhZmE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7GkBBpfMSDGnyl0KoZfCy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kcUtaKmTeSmKeWci.bbP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mkcUtaKmTeSmKeWci.bbP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j2jMQE8SuKcUMrnPOMaeQ"/>
</p:tagLst>
</file>

<file path=ppt/theme/theme1.xml><?xml version="1.0" encoding="utf-8"?>
<a:theme xmlns:a="http://schemas.openxmlformats.org/drawingml/2006/main" name="Office Theme">
  <a:themeElements>
    <a:clrScheme name="Custom 1">
      <a:dk1>
        <a:srgbClr val="000000"/>
      </a:dk1>
      <a:lt1>
        <a:srgbClr val="FFFFFF"/>
      </a:lt1>
      <a:dk2>
        <a:srgbClr val="44546A"/>
      </a:dk2>
      <a:lt2>
        <a:srgbClr val="E7E6E6"/>
      </a:lt2>
      <a:accent1>
        <a:srgbClr val="F0B900"/>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a:lstStyle>
        <a:defPPr algn="l">
          <a:defRPr sz="3600" b="0" i="0" dirty="0" smtClean="0">
            <a:solidFill>
              <a:schemeClr val="bg1"/>
            </a:solidFill>
            <a:latin typeface="Helvetica Neue Light" panose="02000403000000020004" pitchFamily="2" charset="0"/>
            <a:ea typeface="Helvetica Neue Light" panose="02000403000000020004"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rsted">
  <a:themeElements>
    <a:clrScheme name="Orsted">
      <a:dk1>
        <a:srgbClr val="000000"/>
      </a:dk1>
      <a:lt1>
        <a:srgbClr val="FFFFFF"/>
      </a:lt1>
      <a:dk2>
        <a:srgbClr val="3B4956"/>
      </a:dk2>
      <a:lt2>
        <a:srgbClr val="F5F6F7"/>
      </a:lt2>
      <a:accent1>
        <a:srgbClr val="4099DA"/>
      </a:accent1>
      <a:accent2>
        <a:srgbClr val="8ECDC8"/>
      </a:accent2>
      <a:accent3>
        <a:srgbClr val="644C76"/>
      </a:accent3>
      <a:accent4>
        <a:srgbClr val="D8D1CA"/>
      </a:accent4>
      <a:accent5>
        <a:srgbClr val="B7ADA5"/>
      </a:accent5>
      <a:accent6>
        <a:srgbClr val="99A4AE"/>
      </a:accent6>
      <a:hlink>
        <a:srgbClr val="4099DA"/>
      </a:hlink>
      <a:folHlink>
        <a:srgbClr val="4099DA"/>
      </a:folHlink>
    </a:clrScheme>
    <a:fontScheme name="Orsted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96000"/>
          </a:lnSpc>
          <a:defRPr sz="1300" noProof="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96000"/>
          </a:lnSpc>
          <a:spcBef>
            <a:spcPts val="1800"/>
          </a:spcBef>
          <a:defRPr sz="1300" dirty="0" smtClean="0">
            <a:solidFill>
              <a:schemeClr val="tx2"/>
            </a:solidFill>
          </a:defRPr>
        </a:defPPr>
      </a:lstStyle>
    </a:txDef>
  </a:objectDefaults>
  <a:extraClrSchemeLst/>
  <a:extLst>
    <a:ext uri="{05A4C25C-085E-4340-85A3-A5531E510DB2}">
      <thm15:themeFamily xmlns:thm15="http://schemas.microsoft.com/office/thememl/2012/main" name="16-9 Landscape Arial.potx" id="{0561035E-5CB3-4856-ABCE-8EBAD0463BD9}" vid="{7F2A9425-F1B4-4DF1-846A-F024CA7A0C1B}"/>
    </a:ext>
  </a:extLst>
</a:theme>
</file>

<file path=ppt/theme/theme3.xml><?xml version="1.0" encoding="utf-8"?>
<a:theme xmlns:a="http://schemas.openxmlformats.org/drawingml/2006/main" name="2_Office Theme">
  <a:themeElements>
    <a:clrScheme name="Custom 1">
      <a:dk1>
        <a:srgbClr val="000000"/>
      </a:dk1>
      <a:lt1>
        <a:srgbClr val="FFFFFF"/>
      </a:lt1>
      <a:dk2>
        <a:srgbClr val="44546A"/>
      </a:dk2>
      <a:lt2>
        <a:srgbClr val="E7E6E6"/>
      </a:lt2>
      <a:accent1>
        <a:srgbClr val="F0B900"/>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a:lstStyle>
        <a:defPPr algn="l">
          <a:defRPr sz="3600" b="0" i="0" dirty="0" smtClean="0">
            <a:solidFill>
              <a:schemeClr val="bg1"/>
            </a:solidFill>
            <a:latin typeface="Helvetica Neue Light" panose="02000403000000020004" pitchFamily="2" charset="0"/>
            <a:ea typeface="Helvetica Neue Light" panose="02000403000000020004"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Generic Template 16.9_Format_FINAL">
  <a:themeElements>
    <a:clrScheme name="EDF Energy RGB NEW">
      <a:dk1>
        <a:sysClr val="windowText" lastClr="000000"/>
      </a:dk1>
      <a:lt1>
        <a:sysClr val="window" lastClr="FFFFFF"/>
      </a:lt1>
      <a:dk2>
        <a:srgbClr val="7F7F7F"/>
      </a:dk2>
      <a:lt2>
        <a:srgbClr val="BFBFBF"/>
      </a:lt2>
      <a:accent1>
        <a:srgbClr val="FE5716"/>
      </a:accent1>
      <a:accent2>
        <a:srgbClr val="FF861D"/>
      </a:accent2>
      <a:accent3>
        <a:srgbClr val="10367A"/>
      </a:accent3>
      <a:accent4>
        <a:srgbClr val="1057C8"/>
      </a:accent4>
      <a:accent5>
        <a:srgbClr val="4F9E30"/>
      </a:accent5>
      <a:accent6>
        <a:srgbClr val="C0E410"/>
      </a:accent6>
      <a:hlink>
        <a:srgbClr val="1057C8"/>
      </a:hlink>
      <a:folHlink>
        <a:srgbClr val="000000"/>
      </a:folHlink>
    </a:clrScheme>
    <a:fontScheme name="EDF Fonts">
      <a:majorFont>
        <a:latin typeface="Frutiger LT 45 Light"/>
        <a:ea typeface=""/>
        <a:cs typeface=""/>
      </a:majorFont>
      <a:minorFont>
        <a:latin typeface="Frutiger LT 45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8" id="{21366CD5-CFE7-4CD8-A657-2C793AC83C5C}" vid="{7B5FAFB9-89DD-4097-B532-B9D254337316}"/>
    </a:ext>
  </a:extLst>
</a:theme>
</file>

<file path=ppt/theme/theme5.xml><?xml version="1.0" encoding="utf-8"?>
<a:theme xmlns:a="http://schemas.openxmlformats.org/drawingml/2006/main" name="7_Office Theme">
  <a:themeElements>
    <a:clrScheme name="Custom 12">
      <a:dk1>
        <a:srgbClr val="454545"/>
      </a:dk1>
      <a:lt1>
        <a:sysClr val="window" lastClr="FFFFFF"/>
      </a:lt1>
      <a:dk2>
        <a:srgbClr val="727274"/>
      </a:dk2>
      <a:lt2>
        <a:srgbClr val="ACACAE"/>
      </a:lt2>
      <a:accent1>
        <a:srgbClr val="F26522"/>
      </a:accent1>
      <a:accent2>
        <a:srgbClr val="0079C1"/>
      </a:accent2>
      <a:accent3>
        <a:srgbClr val="5BCBF5"/>
      </a:accent3>
      <a:accent4>
        <a:srgbClr val="C2CD23"/>
      </a:accent4>
      <a:accent5>
        <a:srgbClr val="6A2C91"/>
      </a:accent5>
      <a:accent6>
        <a:srgbClr val="FFBF22"/>
      </a:accent6>
      <a:hlink>
        <a:srgbClr val="FFBF22"/>
      </a:hlink>
      <a:folHlink>
        <a:srgbClr val="FFBF2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accent1"/>
          </a:solidFill>
        </a:ln>
      </a:spPr>
      <a:bodyPr wrap="square" lIns="0" tIns="0" rIns="0" bIns="0" rtlCol="0" anchor="ctr">
        <a:noAutofit/>
      </a:bodyPr>
      <a:lstStyle>
        <a:defPPr algn="ctr">
          <a:defRPr sz="1600" b="0" i="0" dirty="0" smtClean="0">
            <a:cs typeface="Helvetica" charset="0"/>
          </a:defRPr>
        </a:defPPr>
      </a:lst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600" dirty="0" smtClean="0"/>
        </a:defPPr>
      </a:lstStyle>
    </a:txDef>
  </a:objectDefaults>
  <a:extraClrSchemeLst/>
  <a:extLst>
    <a:ext uri="{05A4C25C-085E-4340-85A3-A5531E510DB2}">
      <thm15:themeFamily xmlns:thm15="http://schemas.microsoft.com/office/thememl/2012/main" name="ESO PowerPoint Template_16x9 [Read-Only]" id="{555EBCBA-0525-4C1D-AB08-C150EB6B74ED}" vid="{0AC6A0BD-E710-44F5-BF72-67516B2373D8}"/>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97b6fe81-1556-4112-94ca-31043ca39b71">
      <UserInfo>
        <DisplayName>Rivalland (ESO), Jessica</DisplayName>
        <AccountId>49</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95E1BDC5029614ABF43223A464FD248" ma:contentTypeVersion="12" ma:contentTypeDescription="Create a new document." ma:contentTypeScope="" ma:versionID="2474c7f4549ad8682880aca525ed79ee">
  <xsd:schema xmlns:xsd="http://www.w3.org/2001/XMLSchema" xmlns:xs="http://www.w3.org/2001/XMLSchema" xmlns:p="http://schemas.microsoft.com/office/2006/metadata/properties" xmlns:ns2="f71abe4e-f5ff-49cd-8eff-5f4949acc510" xmlns:ns3="97b6fe81-1556-4112-94ca-31043ca39b71" targetNamespace="http://schemas.microsoft.com/office/2006/metadata/properties" ma:root="true" ma:fieldsID="496125ef1f1b50d60b2c8ba73c0e8f8d" ns2:_="" ns3:_="">
    <xsd:import namespace="f71abe4e-f5ff-49cd-8eff-5f4949acc510"/>
    <xsd:import namespace="97b6fe81-1556-4112-94ca-31043ca39b7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MediaServiceLoca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1abe4e-f5ff-49cd-8eff-5f4949acc5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7b6fe81-1556-4112-94ca-31043ca39b71"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526808D-2B4C-4333-ABB4-74F13E7BF81E}">
  <ds:schemaRefs>
    <ds:schemaRef ds:uri="http://schemas.microsoft.com/sharepoint/v3/contenttype/forms"/>
  </ds:schemaRefs>
</ds:datastoreItem>
</file>

<file path=customXml/itemProps2.xml><?xml version="1.0" encoding="utf-8"?>
<ds:datastoreItem xmlns:ds="http://schemas.openxmlformats.org/officeDocument/2006/customXml" ds:itemID="{DCB36002-CCFD-4C5D-814A-FF8D96969B7A}">
  <ds:schemaRefs>
    <ds:schemaRef ds:uri="http://schemas.microsoft.com/office/infopath/2007/PartnerControls"/>
    <ds:schemaRef ds:uri="http://purl.org/dc/terms/"/>
    <ds:schemaRef ds:uri="http://schemas.microsoft.com/office/2006/metadata/properties"/>
    <ds:schemaRef ds:uri="http://schemas.microsoft.com/office/2006/documentManagement/types"/>
    <ds:schemaRef ds:uri="http://schemas.openxmlformats.org/package/2006/metadata/core-properties"/>
    <ds:schemaRef ds:uri="http://purl.org/dc/elements/1.1/"/>
    <ds:schemaRef ds:uri="97b6fe81-1556-4112-94ca-31043ca39b71"/>
    <ds:schemaRef ds:uri="f71abe4e-f5ff-49cd-8eff-5f4949acc510"/>
    <ds:schemaRef ds:uri="http://www.w3.org/XML/1998/namespace"/>
    <ds:schemaRef ds:uri="http://purl.org/dc/dcmitype/"/>
  </ds:schemaRefs>
</ds:datastoreItem>
</file>

<file path=customXml/itemProps3.xml><?xml version="1.0" encoding="utf-8"?>
<ds:datastoreItem xmlns:ds="http://schemas.openxmlformats.org/officeDocument/2006/customXml" ds:itemID="{B76AC38A-EE5D-4EC5-8AFD-A377AEC6906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71abe4e-f5ff-49cd-8eff-5f4949acc510"/>
    <ds:schemaRef ds:uri="97b6fe81-1556-4112-94ca-31043ca39b7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964</TotalTime>
  <Words>3162</Words>
  <Application>Microsoft Office PowerPoint</Application>
  <PresentationFormat>Widescreen</PresentationFormat>
  <Paragraphs>408</Paragraphs>
  <Slides>30</Slides>
  <Notes>12</Notes>
  <HiddenSlides>0</HiddenSlides>
  <MMClips>0</MMClips>
  <ScaleCrop>false</ScaleCrop>
  <HeadingPairs>
    <vt:vector size="8" baseType="variant">
      <vt:variant>
        <vt:lpstr>Fonts Used</vt:lpstr>
      </vt:variant>
      <vt:variant>
        <vt:i4>23</vt:i4>
      </vt:variant>
      <vt:variant>
        <vt:lpstr>Theme</vt:lpstr>
      </vt:variant>
      <vt:variant>
        <vt:i4>5</vt:i4>
      </vt:variant>
      <vt:variant>
        <vt:lpstr>Embedded OLE Servers</vt:lpstr>
      </vt:variant>
      <vt:variant>
        <vt:i4>1</vt:i4>
      </vt:variant>
      <vt:variant>
        <vt:lpstr>Slide Titles</vt:lpstr>
      </vt:variant>
      <vt:variant>
        <vt:i4>30</vt:i4>
      </vt:variant>
    </vt:vector>
  </HeadingPairs>
  <TitlesOfParts>
    <vt:vector size="59" baseType="lpstr">
      <vt:lpstr>Arial</vt:lpstr>
      <vt:lpstr>Calibri</vt:lpstr>
      <vt:lpstr>Frutiger LT 45 Light</vt:lpstr>
      <vt:lpstr>Frutiger LT 55 Roman</vt:lpstr>
      <vt:lpstr>Helvetica Neue Condensed</vt:lpstr>
      <vt:lpstr>Helvetica Neue Light</vt:lpstr>
      <vt:lpstr>Helvetica Neue LT Pro 45 Light</vt:lpstr>
      <vt:lpstr>Helvetica Neue LT Pro 55 Roman</vt:lpstr>
      <vt:lpstr>Helvetica Neue LT Pro 65 Medium</vt:lpstr>
      <vt:lpstr>Helvetica Neue LT Std 35 Thin</vt:lpstr>
      <vt:lpstr>Helvetica Neue LT Std 45 Light</vt:lpstr>
      <vt:lpstr>Helvetica Neue LT Std 55 Roman</vt:lpstr>
      <vt:lpstr>Helvetica Neue LT Std 65 Medium</vt:lpstr>
      <vt:lpstr>Helvetica Neue LT Std 77 Bold C</vt:lpstr>
      <vt:lpstr>Helvetica Neue LT Std 87 Heavy </vt:lpstr>
      <vt:lpstr>Helvetica Neue LT Std 97 Black </vt:lpstr>
      <vt:lpstr>HelveticaNeueLTPro-Blk</vt:lpstr>
      <vt:lpstr>HelveticaNeueLTPro-Hv</vt:lpstr>
      <vt:lpstr>HelveticaNeueLTPro-Roman</vt:lpstr>
      <vt:lpstr>Orsted Sans Office</vt:lpstr>
      <vt:lpstr>Symbol</vt:lpstr>
      <vt:lpstr>Wingdings</vt:lpstr>
      <vt:lpstr>Wingdings 2</vt:lpstr>
      <vt:lpstr>Office Theme</vt:lpstr>
      <vt:lpstr>Orsted</vt:lpstr>
      <vt:lpstr>2_Office Theme</vt:lpstr>
      <vt:lpstr>Generic Template 16.9_Format_FINAL</vt:lpstr>
      <vt:lpstr>7_Office Theme</vt:lpstr>
      <vt:lpstr>think-cell Slide</vt:lpstr>
      <vt:lpstr>21 December 2021 – 9am to 2pm Online Meeting via Teams</vt:lpstr>
      <vt:lpstr>PowerPoint Presentation</vt:lpstr>
      <vt:lpstr>PowerPoint Presentation</vt:lpstr>
      <vt:lpstr>Code Modification Process Overview</vt:lpstr>
      <vt:lpstr>Refine solution Workgroups</vt:lpstr>
      <vt:lpstr>Consult Code Administrator Consultation</vt:lpstr>
      <vt:lpstr>Decision</vt:lpstr>
      <vt:lpstr>Implement</vt:lpstr>
      <vt:lpstr>PowerPoint Presentation</vt:lpstr>
      <vt:lpstr>Timeline for CMP381 at 17 December 2021</vt:lpstr>
      <vt:lpstr>PowerPoint Presentation</vt:lpstr>
      <vt:lpstr>Expectations of a Workgroup Member</vt:lpstr>
      <vt:lpstr>PowerPoint Presentation</vt:lpstr>
      <vt:lpstr>Can I vote? and What is the Alternative Vote?</vt:lpstr>
      <vt:lpstr>Can I vote? and What is the Workgroup Vote?</vt:lpstr>
      <vt:lpstr>PowerPoint Presentation</vt:lpstr>
      <vt:lpstr>CMP381 – Terms of Reference</vt:lpstr>
      <vt:lpstr>PowerPoint Presentation</vt:lpstr>
      <vt:lpstr>Defect and Urgency</vt:lpstr>
      <vt:lpstr>BSUoS variance to ESO forecast</vt:lpstr>
      <vt:lpstr>Proposed Solution</vt:lpstr>
      <vt:lpstr>PowerPoint Presentation</vt:lpstr>
      <vt:lpstr>PowerPoint Presentation</vt:lpstr>
      <vt:lpstr>Overview of approach in CMP345 / 350</vt:lpstr>
      <vt:lpstr>Questions for CMP381 implementation</vt:lpstr>
      <vt:lpstr>Calendar of dates</vt:lpstr>
      <vt:lpstr>ESO available support</vt:lpstr>
      <vt:lpstr>Analysis of how much would have been deferred in 2021 under different price caps</vt:lpstr>
      <vt:lpstr>Analysis on different price cap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ursday 28 May 2020 Online Meeting via WebEx</dc:title>
  <dc:creator>Ahmed (ESO), Nisar</dc:creator>
  <cp:lastModifiedBy>Mullen (ESO), Paul J</cp:lastModifiedBy>
  <cp:revision>105</cp:revision>
  <dcterms:created xsi:type="dcterms:W3CDTF">2020-06-17T10:03:35Z</dcterms:created>
  <dcterms:modified xsi:type="dcterms:W3CDTF">2021-12-20T18:45: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mplianceAssetId">
    <vt:lpwstr/>
  </property>
  <property fmtid="{D5CDD505-2E9C-101B-9397-08002B2CF9AE}" pid="3" name="_ExtendedDescription">
    <vt:lpwstr/>
  </property>
  <property fmtid="{D5CDD505-2E9C-101B-9397-08002B2CF9AE}" pid="4" name="TriggerFlowInfo">
    <vt:lpwstr/>
  </property>
  <property fmtid="{D5CDD505-2E9C-101B-9397-08002B2CF9AE}" pid="5" name="ContentTypeId">
    <vt:lpwstr>0x010100095E1BDC5029614ABF43223A464FD248</vt:lpwstr>
  </property>
</Properties>
</file>